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9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12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3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4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5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6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7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8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9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0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1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3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5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6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7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6" r:id="rId5"/>
    <p:sldMasterId id="2147483700" r:id="rId6"/>
    <p:sldMasterId id="2147483713" r:id="rId7"/>
    <p:sldMasterId id="2147483727" r:id="rId8"/>
    <p:sldMasterId id="2147483740" r:id="rId9"/>
    <p:sldMasterId id="2147483853" r:id="rId10"/>
    <p:sldMasterId id="2147483868" r:id="rId11"/>
    <p:sldMasterId id="2147483899" r:id="rId12"/>
    <p:sldMasterId id="2147483910" r:id="rId13"/>
    <p:sldMasterId id="2147484037" r:id="rId14"/>
    <p:sldMasterId id="2147484086" r:id="rId15"/>
  </p:sldMasterIdLst>
  <p:notesMasterIdLst>
    <p:notesMasterId r:id="rId46"/>
  </p:notesMasterIdLst>
  <p:sldIdLst>
    <p:sldId id="484" r:id="rId16"/>
    <p:sldId id="539" r:id="rId17"/>
    <p:sldId id="490" r:id="rId18"/>
    <p:sldId id="563" r:id="rId19"/>
    <p:sldId id="554" r:id="rId20"/>
    <p:sldId id="557" r:id="rId21"/>
    <p:sldId id="551" r:id="rId22"/>
    <p:sldId id="559" r:id="rId23"/>
    <p:sldId id="558" r:id="rId24"/>
    <p:sldId id="556" r:id="rId25"/>
    <p:sldId id="560" r:id="rId26"/>
    <p:sldId id="561" r:id="rId27"/>
    <p:sldId id="562" r:id="rId28"/>
    <p:sldId id="555" r:id="rId29"/>
    <p:sldId id="553" r:id="rId30"/>
    <p:sldId id="535" r:id="rId31"/>
    <p:sldId id="540" r:id="rId32"/>
    <p:sldId id="566" r:id="rId33"/>
    <p:sldId id="542" r:id="rId34"/>
    <p:sldId id="569" r:id="rId35"/>
    <p:sldId id="552" r:id="rId36"/>
    <p:sldId id="565" r:id="rId37"/>
    <p:sldId id="544" r:id="rId38"/>
    <p:sldId id="545" r:id="rId39"/>
    <p:sldId id="564" r:id="rId40"/>
    <p:sldId id="534" r:id="rId41"/>
    <p:sldId id="527" r:id="rId42"/>
    <p:sldId id="549" r:id="rId43"/>
    <p:sldId id="568" r:id="rId44"/>
    <p:sldId id="546" r:id="rId45"/>
  </p:sldIdLst>
  <p:sldSz cx="9144000" cy="6858000" type="screen4x3"/>
  <p:notesSz cx="7010400" cy="9296400"/>
  <p:custDataLst>
    <p:tags r:id="rId4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5">
          <p15:clr>
            <a:srgbClr val="A4A3A4"/>
          </p15:clr>
        </p15:guide>
        <p15:guide id="2" pos="12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66CCFF"/>
    <a:srgbClr val="339966"/>
    <a:srgbClr val="FF6600"/>
    <a:srgbClr val="99CCFF"/>
    <a:srgbClr val="00CC00"/>
    <a:srgbClr val="003399"/>
    <a:srgbClr val="00FFCC"/>
    <a:srgbClr val="CCCC00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78" autoAdjust="0"/>
    <p:restoredTop sz="82938" autoAdjust="0"/>
  </p:normalViewPr>
  <p:slideViewPr>
    <p:cSldViewPr snapToGrid="0">
      <p:cViewPr varScale="1">
        <p:scale>
          <a:sx n="150" d="100"/>
          <a:sy n="150" d="100"/>
        </p:scale>
        <p:origin x="184" y="672"/>
      </p:cViewPr>
      <p:guideLst>
        <p:guide orient="horz" pos="3165"/>
        <p:guide pos="1287"/>
      </p:guideLst>
    </p:cSldViewPr>
  </p:slideViewPr>
  <p:outlineViewPr>
    <p:cViewPr>
      <p:scale>
        <a:sx n="33" d="100"/>
        <a:sy n="33" d="100"/>
      </p:scale>
      <p:origin x="6" y="25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1962" y="-96"/>
      </p:cViewPr>
      <p:guideLst>
        <p:guide orient="horz" pos="2928"/>
        <p:guide pos="2208"/>
      </p:guideLst>
    </p:cSldViewPr>
  </p:notesViewPr>
  <p:gridSpacing cx="75895" cy="7589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1" cy="464820"/>
          </a:xfrm>
          <a:prstGeom prst="rect">
            <a:avLst/>
          </a:prstGeom>
        </p:spPr>
        <p:txBody>
          <a:bodyPr vert="horz" lIns="93164" tIns="46583" rIns="93164" bIns="4658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1" cy="464820"/>
          </a:xfrm>
          <a:prstGeom prst="rect">
            <a:avLst/>
          </a:prstGeom>
        </p:spPr>
        <p:txBody>
          <a:bodyPr vert="horz" lIns="93164" tIns="46583" rIns="93164" bIns="46583" rtlCol="0"/>
          <a:lstStyle>
            <a:lvl1pPr algn="r">
              <a:defRPr sz="1200"/>
            </a:lvl1pPr>
          </a:lstStyle>
          <a:p>
            <a:fld id="{71C7ED22-222F-4878-8A9E-0109D03C55DF}" type="datetimeFigureOut">
              <a:rPr lang="en-US" smtClean="0"/>
              <a:t>3/11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5325"/>
            <a:ext cx="4648200" cy="3487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3" rIns="93164" bIns="4658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3164" tIns="46583" rIns="93164" bIns="4658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1" cy="464820"/>
          </a:xfrm>
          <a:prstGeom prst="rect">
            <a:avLst/>
          </a:prstGeom>
        </p:spPr>
        <p:txBody>
          <a:bodyPr vert="horz" lIns="93164" tIns="46583" rIns="93164" bIns="4658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1" cy="464820"/>
          </a:xfrm>
          <a:prstGeom prst="rect">
            <a:avLst/>
          </a:prstGeom>
        </p:spPr>
        <p:txBody>
          <a:bodyPr vert="horz" lIns="93164" tIns="46583" rIns="93164" bIns="46583" rtlCol="0" anchor="b"/>
          <a:lstStyle>
            <a:lvl1pPr algn="r">
              <a:defRPr sz="1200"/>
            </a:lvl1pPr>
          </a:lstStyle>
          <a:p>
            <a:fld id="{C3F59DE1-C905-4686-BE17-8EFD8066FA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833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fference between Physical Allocation and Virtual Provisioning:</a:t>
            </a:r>
          </a:p>
          <a:p>
            <a:pPr marL="228600" indent="-228600">
              <a:buAutoNum type="arabicPeriod"/>
            </a:pPr>
            <a:r>
              <a:rPr lang="en-US" dirty="0"/>
              <a:t>Possible over-provisioning of resources in the hypervisor could account for 2/1 ratio in CPU allocation</a:t>
            </a:r>
          </a:p>
          <a:p>
            <a:pPr marL="228600" indent="-228600">
              <a:buAutoNum type="arabicPeriod"/>
            </a:pPr>
            <a:r>
              <a:rPr lang="en-US" dirty="0"/>
              <a:t>Missing </a:t>
            </a:r>
            <a:r>
              <a:rPr lang="en-US" dirty="0" err="1"/>
              <a:t>Movere</a:t>
            </a:r>
            <a:r>
              <a:rPr lang="en-US" dirty="0"/>
              <a:t> data for physical resources causing under-reporting</a:t>
            </a:r>
          </a:p>
          <a:p>
            <a:pPr marL="228600" indent="-228600">
              <a:buAutoNum type="arabicPeriod"/>
            </a:pPr>
            <a:r>
              <a:rPr lang="en-US" dirty="0"/>
              <a:t>Utilization is the average amount of used resources compared against the total (i.e. Used/Total)</a:t>
            </a:r>
          </a:p>
          <a:p>
            <a:pPr marL="228600" indent="-228600">
              <a:buAutoNum type="arabicPeriod"/>
            </a:pPr>
            <a:r>
              <a:rPr lang="en-US" dirty="0"/>
              <a:t>Headroom is the measurement that </a:t>
            </a:r>
            <a:r>
              <a:rPr lang="en-US" dirty="0" err="1"/>
              <a:t>Movere</a:t>
            </a:r>
            <a:r>
              <a:rPr lang="en-US" dirty="0"/>
              <a:t> uses to calculate how close the workload is to the next Azure Profile</a:t>
            </a:r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012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8326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te percentages represent CDO’s volume in relation to entire </a:t>
            </a:r>
            <a:r>
              <a:rPr lang="en-US" dirty="0" err="1"/>
              <a:t>OptumCare</a:t>
            </a:r>
            <a:r>
              <a:rPr lang="en-US" dirty="0"/>
              <a:t> landscape (i.e. “DMG accounts for 27% of the </a:t>
            </a:r>
            <a:r>
              <a:rPr lang="en-US" dirty="0" err="1"/>
              <a:t>OptumCare</a:t>
            </a:r>
            <a:r>
              <a:rPr lang="en-US" dirty="0"/>
              <a:t> infrastructure landscape.”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lack numbers above blue columns indicate TOTAL number of servers (physical and virtual) in the CDO, for which we have </a:t>
            </a:r>
            <a:r>
              <a:rPr lang="en-US" dirty="0" err="1"/>
              <a:t>Movere</a:t>
            </a:r>
            <a:r>
              <a:rPr lang="en-US" dirty="0"/>
              <a:t>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ly includes inventory captured by </a:t>
            </a:r>
            <a:r>
              <a:rPr lang="en-US" dirty="0" err="1"/>
              <a:t>Movere</a:t>
            </a:r>
            <a:r>
              <a:rPr lang="en-US" dirty="0"/>
              <a:t>. Excludes MedExpress, New West Physicians and AH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182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ck numbers above blue columns represent total VIRTUAL CPU provisioned</a:t>
            </a:r>
          </a:p>
          <a:p>
            <a:endParaRPr lang="en-US" dirty="0"/>
          </a:p>
          <a:p>
            <a:r>
              <a:rPr lang="en-US" dirty="0"/>
              <a:t>White numbers indicate average CPU utiliz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378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ck numbers above blue columns represent total PHYSICAL CPU provisioned</a:t>
            </a:r>
          </a:p>
          <a:p>
            <a:endParaRPr lang="en-US" dirty="0"/>
          </a:p>
          <a:p>
            <a:r>
              <a:rPr lang="en-US" dirty="0"/>
              <a:t>White numbers indicate average CPU utilization</a:t>
            </a:r>
          </a:p>
          <a:p>
            <a:endParaRPr lang="en-US" dirty="0"/>
          </a:p>
          <a:p>
            <a:r>
              <a:rPr lang="en-US" dirty="0"/>
              <a:t>*Not repor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03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ck numbers above blue columns represent total VIRTUAL RAM provisioned</a:t>
            </a:r>
          </a:p>
          <a:p>
            <a:endParaRPr lang="en-US" dirty="0"/>
          </a:p>
          <a:p>
            <a:r>
              <a:rPr lang="en-US" dirty="0"/>
              <a:t>White numbers indicate average RAM util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3249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ck numbers above blue columns represent total PHYSICAL RAM provisioned</a:t>
            </a:r>
          </a:p>
          <a:p>
            <a:endParaRPr lang="en-US" dirty="0"/>
          </a:p>
          <a:p>
            <a:r>
              <a:rPr lang="en-US" dirty="0"/>
              <a:t>White numbers indicate average RAM utilization</a:t>
            </a:r>
          </a:p>
          <a:p>
            <a:endParaRPr lang="en-US" dirty="0"/>
          </a:p>
          <a:p>
            <a:r>
              <a:rPr lang="en-US" dirty="0"/>
              <a:t>* Negligible or not repor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3867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centages above each blue column represent percent us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830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centages above each blue column represent percent used</a:t>
            </a:r>
          </a:p>
          <a:p>
            <a:endParaRPr lang="en-US" dirty="0"/>
          </a:p>
          <a:p>
            <a:r>
              <a:rPr lang="en-US" dirty="0"/>
              <a:t>*Storage not repor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80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004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894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014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949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234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s presented in </a:t>
            </a:r>
            <a:r>
              <a:rPr lang="en-US" dirty="0" err="1"/>
              <a:t>Movere</a:t>
            </a:r>
            <a:r>
              <a:rPr lang="en-US" dirty="0"/>
              <a:t>, no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429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1764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59DE1-C905-4686-BE17-8EFD8066FA3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772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0.emf"/><Relationship Id="rId5" Type="http://schemas.openxmlformats.org/officeDocument/2006/relationships/image" Target="../media/image39.jpeg"/><Relationship Id="rId4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0.emf"/><Relationship Id="rId5" Type="http://schemas.openxmlformats.org/officeDocument/2006/relationships/image" Target="../media/image42.jpeg"/><Relationship Id="rId4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0.emf"/><Relationship Id="rId5" Type="http://schemas.openxmlformats.org/officeDocument/2006/relationships/image" Target="../media/image43.jpeg"/><Relationship Id="rId4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0.emf"/><Relationship Id="rId5" Type="http://schemas.openxmlformats.org/officeDocument/2006/relationships/image" Target="../media/image39.jpeg"/><Relationship Id="rId4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0.emf"/><Relationship Id="rId5" Type="http://schemas.openxmlformats.org/officeDocument/2006/relationships/image" Target="../media/image44.jpeg"/><Relationship Id="rId4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0.emf"/><Relationship Id="rId5" Type="http://schemas.openxmlformats.org/officeDocument/2006/relationships/image" Target="../media/image45.jpeg"/><Relationship Id="rId4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0.emf"/><Relationship Id="rId5" Type="http://schemas.openxmlformats.org/officeDocument/2006/relationships/image" Target="../media/image46.jpeg"/><Relationship Id="rId4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0.emf"/><Relationship Id="rId5" Type="http://schemas.openxmlformats.org/officeDocument/2006/relationships/image" Target="../media/image47.jpeg"/><Relationship Id="rId4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0.emf"/><Relationship Id="rId5" Type="http://schemas.openxmlformats.org/officeDocument/2006/relationships/image" Target="../media/image48.jpeg"/><Relationship Id="rId4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0.emf"/><Relationship Id="rId5" Type="http://schemas.openxmlformats.org/officeDocument/2006/relationships/image" Target="../media/image49.jpeg"/><Relationship Id="rId4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40.emf"/><Relationship Id="rId5" Type="http://schemas.openxmlformats.org/officeDocument/2006/relationships/image" Target="../media/image50.jpeg"/><Relationship Id="rId4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image" Target="../media/image40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9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5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57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1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7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7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8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8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8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9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9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36.pn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6.pn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1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36.pn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40.emf"/><Relationship Id="rId5" Type="http://schemas.openxmlformats.org/officeDocument/2006/relationships/image" Target="../media/image37.png"/><Relationship Id="rId4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40.emf"/><Relationship Id="rId4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6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61" y="228323"/>
            <a:ext cx="2157557" cy="67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Optum_ColorBand-0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9092"/>
            <a:ext cx="9144000" cy="109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04888" y="5527675"/>
            <a:ext cx="7680325" cy="342900"/>
          </a:xfrm>
        </p:spPr>
        <p:txBody>
          <a:bodyPr/>
          <a:lstStyle>
            <a:lvl1pPr>
              <a:spcAft>
                <a:spcPct val="20000"/>
              </a:spcAft>
              <a:defRPr sz="20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04888" y="5930902"/>
            <a:ext cx="7680325" cy="547688"/>
          </a:xfrm>
        </p:spPr>
        <p:txBody>
          <a:bodyPr/>
          <a:lstStyle>
            <a:lvl1pPr marL="0" indent="0">
              <a:spcAft>
                <a:spcPct val="0"/>
              </a:spcAft>
              <a:buFontTx/>
              <a:buNone/>
              <a:defRPr sz="1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4830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3392732C-F46F-482E-AB0B-517D84D3C9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254239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Optum_ColorBand-0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5"/>
          <p:cNvSpPr>
            <a:spLocks noChangeArrowheads="1"/>
          </p:cNvSpPr>
          <p:nvPr userDrawn="1"/>
        </p:nvSpPr>
        <p:spPr bwMode="auto">
          <a:xfrm>
            <a:off x="2362200" y="6307138"/>
            <a:ext cx="2741613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>
              <a:lnSpc>
                <a:spcPct val="95000"/>
              </a:lnSpc>
              <a:buClr>
                <a:srgbClr val="D45D00"/>
              </a:buClr>
            </a:pPr>
            <a:endParaRPr lang="en-US" sz="1000" dirty="0">
              <a:solidFill>
                <a:srgbClr val="63666A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362200" y="5448300"/>
            <a:ext cx="6096000" cy="342900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62200" y="5791200"/>
            <a:ext cx="4800600" cy="547688"/>
          </a:xfrm>
        </p:spPr>
        <p:txBody>
          <a:bodyPr/>
          <a:lstStyle>
            <a:lvl1pPr>
              <a:spcAft>
                <a:spcPct val="0"/>
              </a:spcAft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070229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5DBEB4-90B2-44B7-AA67-BFEA0AFF821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71001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E91DF-6AEB-4D35-BBA7-ACB55ECA5928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75077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90600"/>
            <a:ext cx="40370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EC39B-7468-4BD4-ABB8-D4AB11A7C66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50165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170014-B02E-47D4-B249-B7CB0246F91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403013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03077E-46C2-440E-A46B-1050E011A6A8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36606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D87619-5498-4341-B146-AA51803E03A1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070623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685248-4A87-4DF8-8CBD-FEC8B425D7C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66527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0308F4-AFFD-45C0-A90C-5928E77365C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18316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63"/>
            <a:ext cx="2057400" cy="60182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63"/>
            <a:ext cx="6019800" cy="60182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A97487B5-BCED-415E-9C78-8D871CC769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19533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B40266-255D-462B-9D1D-8FEEE6EBA287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21783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FA0637-26F4-4035-A591-E4712A122BA6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220238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2000" y="6580188"/>
            <a:ext cx="3048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D93FC-7F0E-47BC-82D7-210936C94C2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652892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Busines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A596077-5166-4CBD-B347-54C6AEE790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92F14E2-37A9-4D39-B916-DC1D5C9B6C99}"/>
              </a:ext>
            </a:extLst>
          </p:cNvPr>
          <p:cNvSpPr/>
          <p:nvPr/>
        </p:nvSpPr>
        <p:spPr bwMode="gray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/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3FAFB6-26AF-42D0-9AFD-7653A33D683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D2485058-8C35-4B1F-A301-5B3E2849BB4C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601" y="5572125"/>
            <a:ext cx="2660080" cy="11176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18493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Lifesty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E4155B0-849C-4295-B9A3-289B82E69C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6E36F7-040C-4CF7-A4F3-566C1FB93D13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/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92C5A5-93D8-46FA-9FF4-4D3FFCD2168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197149-F933-4CD0-8443-2149C98EC350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601" y="5572125"/>
            <a:ext cx="2660080" cy="11176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955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Clin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6825D86-6339-4FA5-BF31-FB0E1B56D0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/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B9D10F-4F85-47EB-BB69-0ED9FC2465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24E675-E938-4B63-B020-9CEF16B2EED6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601" y="5572125"/>
            <a:ext cx="2660080" cy="11176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84962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lkin Customiz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685800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picture icon in middle of slide to add full blee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-5893"/>
            <a:ext cx="9144000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 algn="ctr" defTabSz="685647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</p:spTree>
    <p:extLst>
      <p:ext uri="{BB962C8B-B14F-4D97-AF65-F5344CB8AC3E}">
        <p14:creationId xmlns:p14="http://schemas.microsoft.com/office/powerpoint/2010/main" val="30113648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6FBA2-BBD7-484D-A95D-B069D802D817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7017840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E0C51-D0A4-4EE2-A02D-F7163F9FDDE8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F3EB9D-9B44-418C-9B2E-D32A67A979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6055336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D9463-36C6-4952-BC22-2EA65D87DF90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71476" y="1118283"/>
            <a:ext cx="4126706" cy="492125"/>
          </a:xfrm>
        </p:spPr>
        <p:txBody>
          <a:bodyPr anchor="t"/>
          <a:lstStyle>
            <a:lvl1pPr marL="0" indent="0">
              <a:buNone/>
              <a:defRPr sz="2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118283"/>
            <a:ext cx="4229100" cy="492125"/>
          </a:xfrm>
        </p:spPr>
        <p:txBody>
          <a:bodyPr anchor="t"/>
          <a:lstStyle>
            <a:lvl1pPr marL="0" indent="0">
              <a:buNone/>
              <a:defRPr sz="2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</p:spTree>
    <p:extLst>
      <p:ext uri="{BB962C8B-B14F-4D97-AF65-F5344CB8AC3E}">
        <p14:creationId xmlns:p14="http://schemas.microsoft.com/office/powerpoint/2010/main" val="4108416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8" y="152400"/>
            <a:ext cx="8226425" cy="611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4" y="960457"/>
            <a:ext cx="4037013" cy="5210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60457"/>
            <a:ext cx="4038600" cy="5210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09068AA9-50E2-4B51-B505-52E9389991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65963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5A09C3-D106-4445-825C-1840C654F8F7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928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841B2-E1B6-4EB3-96B5-FCDAC37C1FCE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35FC4DD-34A5-4677-832D-B024EEC6EE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8853896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A9570-C217-43BD-AADB-902C8B4D6E91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44400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3647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38783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88385" y="3823854"/>
            <a:ext cx="2501612" cy="208164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o change text formatting place cursor at beginning of text/line and hit Tab or Shift Tab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3318605" y="3823854"/>
            <a:ext cx="2501612" cy="208164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o change text formatting place cursor at beginning of text/line and hit Tab or Shift Tab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131821" y="3823854"/>
            <a:ext cx="2501612" cy="2081645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o change text formatting place cursor at beginning of text/line and hit Tab or Shift Tab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4C26CD5-34F3-447A-AB99-996C78750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8882849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231AE-BA14-4398-811A-2518F7C2F40A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164592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9"/>
            <a:ext cx="164592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9"/>
            <a:ext cx="164592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9"/>
            <a:ext cx="164592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9"/>
            <a:ext cx="1645920" cy="663575"/>
          </a:xfrm>
          <a:solidFill>
            <a:srgbClr val="A22B38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085635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9979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51395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722811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618BD47-FF2D-4F28-A6A1-AC6D6F55AD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548412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5AC1B4-A474-48B8-B64E-2384B9FF600C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0574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517436" y="1828799"/>
            <a:ext cx="20574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63397" y="1828799"/>
            <a:ext cx="20574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809357" y="1828799"/>
            <a:ext cx="205740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517436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663397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809357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8B6576D-BE38-4862-BF49-409F9E9279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36548075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9039B-5A46-4466-BC48-42BB52865C1D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7432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252220" y="1828798"/>
            <a:ext cx="27432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132964" y="1828798"/>
            <a:ext cx="27432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252220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132964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2CDFF47-ED53-43FD-9BBC-78701BFFA4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5600150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7691-B3A0-4545-B2B0-ED9BD25210C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4" y="1828801"/>
            <a:ext cx="41148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735284" y="1828798"/>
            <a:ext cx="41148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4" y="2492372"/>
            <a:ext cx="41148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735284" y="2492372"/>
            <a:ext cx="41148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BDB466E-A2B3-4E9F-A51F-6D8EA5C56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5659316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47BC0-45FF-4C13-A0A7-37E29A1FA7B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393247" y="1828800"/>
            <a:ext cx="4178753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883228" y="4470400"/>
            <a:ext cx="2688771" cy="1435100"/>
          </a:xfrm>
          <a:solidFill>
            <a:schemeClr val="tx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4572000" y="1828800"/>
            <a:ext cx="4286250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69914" y="4470400"/>
            <a:ext cx="2688336" cy="1435100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74C1D90-76B1-43FC-A4AD-940B5FED7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87468090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85763" y="1828800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ED356-D12A-4A68-8EA0-D0FFD06C10A3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653241" y="3873724"/>
            <a:ext cx="1558019" cy="2031776"/>
          </a:xfrm>
          <a:solidFill>
            <a:schemeClr val="tx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3214799" y="1828800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489134" y="3873724"/>
            <a:ext cx="1558019" cy="2031776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6050554" y="1835374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324889" y="3873724"/>
            <a:ext cx="1558019" cy="2031776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67FAC8-26AF-48A1-938F-B5C40D744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8853753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85763" y="1828801"/>
            <a:ext cx="2114550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C5AB0-8595-46A0-BF95-064D5BE4656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2500313" y="1828801"/>
            <a:ext cx="2118122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4618434" y="1826531"/>
            <a:ext cx="2116336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732985" y="1826531"/>
            <a:ext cx="2125266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404257" y="2971800"/>
            <a:ext cx="1096055" cy="1439408"/>
          </a:xfrm>
          <a:solidFill>
            <a:schemeClr val="tx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522379" y="2971800"/>
            <a:ext cx="1096055" cy="1439408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638714" y="2971800"/>
            <a:ext cx="1096055" cy="1439408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762195" y="2971800"/>
            <a:ext cx="1096055" cy="1439408"/>
          </a:xfrm>
          <a:solidFill>
            <a:schemeClr val="accent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C1780D9-CEF1-4E3B-B6D6-225DD4E899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970457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8" y="152400"/>
            <a:ext cx="8226425" cy="611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4" y="960457"/>
            <a:ext cx="8228013" cy="52101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60A002C0-CA88-444E-A1B6-235D8D897D2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033525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85762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DC705-565C-4499-A193-4D87B1E2275D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2082842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3779921" y="1826532"/>
            <a:ext cx="1680210" cy="1974141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5477001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7174081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28452" y="2700790"/>
            <a:ext cx="837520" cy="1099883"/>
          </a:xfrm>
          <a:solidFill>
            <a:schemeClr val="tx2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 |</a:t>
            </a:r>
            <a:br>
              <a:rPr lang="en-US" dirty="0"/>
            </a:br>
            <a:r>
              <a:rPr lang="en-US" dirty="0"/>
              <a:t>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925532" y="2700790"/>
            <a:ext cx="837520" cy="1099883"/>
          </a:xfrm>
          <a:solidFill>
            <a:schemeClr val="accent2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22612" y="2700790"/>
            <a:ext cx="837520" cy="1099883"/>
          </a:xfrm>
          <a:solidFill>
            <a:schemeClr val="accent4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319692" y="2700790"/>
            <a:ext cx="837520" cy="1099883"/>
          </a:xfrm>
          <a:solidFill>
            <a:schemeClr val="accent1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996578" y="2700790"/>
            <a:ext cx="837520" cy="1099883"/>
          </a:xfrm>
          <a:solidFill>
            <a:srgbClr val="A22B38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E67BFEE-381A-4A6D-8DFD-43CABE625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15067971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5ABCF-60F5-4F9F-8BA2-DEFD74BCBF8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7"/>
            <a:ext cx="1645920" cy="1970316"/>
          </a:xfrm>
          <a:solidFill>
            <a:schemeClr val="tx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8"/>
            <a:ext cx="1645920" cy="1970316"/>
          </a:xfrm>
          <a:solidFill>
            <a:schemeClr val="accent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8"/>
            <a:ext cx="1645920" cy="1970316"/>
          </a:xfrm>
          <a:solidFill>
            <a:schemeClr val="accent4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8"/>
            <a:ext cx="1645920" cy="1970316"/>
          </a:xfrm>
          <a:solidFill>
            <a:schemeClr val="accent1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8"/>
            <a:ext cx="1645920" cy="1970316"/>
          </a:xfrm>
          <a:solidFill>
            <a:srgbClr val="A22B38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081553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91631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501709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7211787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631B6F8-C198-462C-AF03-A48233B06B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7194574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7779A-32C1-4F1E-A9CC-9BF93D9CA69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3088" cy="1307592"/>
          </a:xfrm>
          <a:solidFill>
            <a:schemeClr val="tx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3223758"/>
            <a:ext cx="1273088" cy="1307592"/>
          </a:xfrm>
          <a:solidFill>
            <a:schemeClr val="accent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4586060"/>
            <a:ext cx="1273088" cy="1307592"/>
          </a:xfrm>
          <a:solidFill>
            <a:schemeClr val="accent4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38653" y="1861456"/>
            <a:ext cx="7116876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738653" y="3242808"/>
            <a:ext cx="7116876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38653" y="4624161"/>
            <a:ext cx="7116876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7CB5724-7345-4477-B6C2-91683C0C2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4685246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A0A45-F1CC-45DB-9B1A-0FDC7C51BDB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5588" cy="987552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887905"/>
            <a:ext cx="1275588" cy="987552"/>
          </a:xfrm>
          <a:solidFill>
            <a:schemeClr val="accent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3914354"/>
            <a:ext cx="1275588" cy="987552"/>
          </a:xfrm>
          <a:solidFill>
            <a:schemeClr val="accent4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09737" y="1861456"/>
            <a:ext cx="714579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709737" y="2888302"/>
            <a:ext cx="714579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12458" y="3914354"/>
            <a:ext cx="714579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4940802"/>
            <a:ext cx="1275588" cy="987552"/>
          </a:xfrm>
          <a:solidFill>
            <a:schemeClr val="accent1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712458" y="4940406"/>
            <a:ext cx="714579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89CC0DE-8E88-4C4F-BBB8-CB102DA4C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8267243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86A0E-D268-48E3-8476-5670B627315E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861456"/>
            <a:ext cx="787853" cy="768096"/>
          </a:xfrm>
          <a:solidFill>
            <a:schemeClr val="tx2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2681880"/>
            <a:ext cx="787853" cy="768096"/>
          </a:xfrm>
          <a:solidFill>
            <a:schemeClr val="accent2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3502304"/>
            <a:ext cx="787853" cy="768096"/>
          </a:xfrm>
          <a:solidFill>
            <a:schemeClr val="accent4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221922" y="1861456"/>
            <a:ext cx="7633607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224643" y="2679568"/>
            <a:ext cx="7633607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224643" y="3497680"/>
            <a:ext cx="7633607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6" y="4322728"/>
            <a:ext cx="787853" cy="768096"/>
          </a:xfrm>
          <a:solidFill>
            <a:schemeClr val="accent1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221922" y="4315792"/>
            <a:ext cx="7633607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6" y="5143150"/>
            <a:ext cx="787853" cy="768096"/>
          </a:xfrm>
          <a:solidFill>
            <a:srgbClr val="A22B38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224643" y="5133905"/>
            <a:ext cx="7633607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orange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B0E6FC2-94CC-4D51-BB6C-453695373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9885564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8A289D-16CB-412A-ACC4-C4678A96B1DA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6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242808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4624161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6B105E-21BF-4886-A4F3-142D6B3B2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24275B-1008-4B2B-AB84-BAC87DC37F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457200"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055158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75FD02-8921-4BE8-BF1F-2412D92057F8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7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889431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917405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945380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DAC82A9-851F-41ED-8839-FC7966AE0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7F3D4019-DCDF-4857-847C-9573F0C1B01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457200"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42179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55D99-287A-41F1-A3B6-ED308BE6388E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8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696210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530962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365714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5200468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3BFB9B1-1EFA-44DF-8290-51EAEBD9B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BCD7420F-31EF-411E-818F-128E1835AA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457200"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383767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58CB6-1C0E-4F1E-ABDE-E209BAE42906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47" y="2975656"/>
            <a:ext cx="2374106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75625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199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3" name="Picture 13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4" y="228600"/>
            <a:ext cx="2157413" cy="67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04888" y="5527675"/>
            <a:ext cx="7680325" cy="342900"/>
          </a:xfrm>
        </p:spPr>
        <p:txBody>
          <a:bodyPr/>
          <a:lstStyle>
            <a:lvl1pPr>
              <a:spcAft>
                <a:spcPct val="20000"/>
              </a:spcAft>
              <a:defRPr sz="20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04888" y="5930902"/>
            <a:ext cx="7680325" cy="547688"/>
          </a:xfrm>
        </p:spPr>
        <p:txBody>
          <a:bodyPr/>
          <a:lstStyle>
            <a:lvl1pPr marL="0" indent="0">
              <a:spcAft>
                <a:spcPct val="0"/>
              </a:spcAft>
              <a:buFontTx/>
              <a:buNone/>
              <a:defRPr sz="1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251" name="Picture 11" descr="Optum_ColorBand-0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9343956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364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7891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2866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5762" y="1104901"/>
            <a:ext cx="4033838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5762" y="4122058"/>
            <a:ext cx="4033838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268283A-D91D-4D73-9EBF-3B34754D95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00575" y="0"/>
            <a:ext cx="4733925" cy="6858000"/>
          </a:xfr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949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DB570-869D-4BF9-A42B-24A69922ED4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4112" y="2114962"/>
            <a:ext cx="4477798" cy="18814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776934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3904343"/>
            <a:ext cx="5383666" cy="482887"/>
          </a:xfrm>
        </p:spPr>
        <p:txBody>
          <a:bodyPr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452943"/>
            <a:ext cx="5383666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371474" y="2535053"/>
            <a:ext cx="2794035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400" dirty="0">
                <a:solidFill>
                  <a:srgbClr val="55565A"/>
                </a:solidFill>
                <a:latin typeface="Arial" panose="020B0604020202020204"/>
              </a:rPr>
              <a:t>Thank you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85761" y="3134422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55565A"/>
                </a:solidFill>
                <a:latin typeface="Arial" panose="020B0604020202020204"/>
              </a:rPr>
              <a:t>Contact information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385761" y="5003288"/>
            <a:ext cx="5383666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.456.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D6922A-983B-4BA1-9404-083625C6FFF9}"/>
              </a:ext>
            </a:extLst>
          </p:cNvPr>
          <p:cNvSpPr txBox="1"/>
          <p:nvPr/>
        </p:nvSpPr>
        <p:spPr bwMode="gray">
          <a:xfrm>
            <a:off x="371474" y="2535053"/>
            <a:ext cx="2794035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400" dirty="0">
                <a:solidFill>
                  <a:srgbClr val="55565A"/>
                </a:solidFill>
                <a:latin typeface="Arial" panose="020B0604020202020204"/>
              </a:rPr>
              <a:t>Thank you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88031-B09C-4308-AD99-6FA427183E5B}"/>
              </a:ext>
            </a:extLst>
          </p:cNvPr>
          <p:cNvSpPr txBox="1"/>
          <p:nvPr/>
        </p:nvSpPr>
        <p:spPr bwMode="gray">
          <a:xfrm>
            <a:off x="385761" y="3134422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55565A"/>
                </a:solidFill>
                <a:latin typeface="Arial" panose="020B0604020202020204"/>
              </a:rPr>
              <a:t>Contact information: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54186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4EFBD-6A4E-48E5-8CBE-DBFDE91FE1C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4680908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. 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7057F-D7A9-44E0-800C-8F154DF6908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EA666C6-7C0B-462D-87CE-B2211CF4D8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8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98445547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. 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F6BFC8-5E47-4ED3-867C-E55E197CC55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71476" y="1118283"/>
            <a:ext cx="4126706" cy="492125"/>
          </a:xfrm>
        </p:spPr>
        <p:txBody>
          <a:bodyPr anchor="t"/>
          <a:lstStyle>
            <a:lvl1pPr marL="0" indent="0">
              <a:buNone/>
              <a:defRPr sz="2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118283"/>
            <a:ext cx="4229100" cy="492125"/>
          </a:xfrm>
        </p:spPr>
        <p:txBody>
          <a:bodyPr anchor="t"/>
          <a:lstStyle>
            <a:lvl1pPr marL="0" indent="0">
              <a:buNone/>
              <a:defRPr sz="2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</p:spTree>
    <p:extLst>
      <p:ext uri="{BB962C8B-B14F-4D97-AF65-F5344CB8AC3E}">
        <p14:creationId xmlns:p14="http://schemas.microsoft.com/office/powerpoint/2010/main" val="75978633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3-hallway-nurse-doctor-tablet-4x3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3999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/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9198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5553AD-F1A4-4A7E-9B67-AFDF979B4F8D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28606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1-women-shaking-hands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92F14E2-37A9-4D39-B916-DC1D5C9B6C99}"/>
              </a:ext>
            </a:extLst>
          </p:cNvPr>
          <p:cNvSpPr/>
          <p:nvPr/>
        </p:nvSpPr>
        <p:spPr bwMode="gray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92802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2-women-running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9144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6E36F7-040C-4CF7-A4F3-566C1FB93D13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3708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3-hallway-nurse-doctor-tablet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3999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50075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26560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cbarthol\Desktop\Charlotte Work\Tools\PPT\Empower\2019 PPT cover images\5-doctor-tablet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3796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cbarthol\Desktop\Charlotte Work\Tools\PPT\Empower\2019 PPT cover images\meeting-post-its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29472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cbarthol\Desktop\Charlotte Work\Tools\PPT\Empower\2019 PPT cover images\7-woman-sitting-phone-mobile-4x3.jpg"/>
          <p:cNvPicPr>
            <a:picLocks noChangeAspect="1" noChangeArrowheads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8594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Users\cbarthol\Desktop\Charlotte Work\Tools\PPT\Empower\2019 PPT cover images\zion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8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759189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75168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4620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135" indent="0">
              <a:buNone/>
              <a:defRPr sz="1800"/>
            </a:lvl2pPr>
            <a:lvl3pPr marL="912264" indent="0">
              <a:buNone/>
              <a:defRPr sz="1600"/>
            </a:lvl3pPr>
            <a:lvl4pPr marL="1368397" indent="0">
              <a:buNone/>
              <a:defRPr sz="1400"/>
            </a:lvl4pPr>
            <a:lvl5pPr marL="1824527" indent="0">
              <a:buNone/>
              <a:defRPr sz="1400"/>
            </a:lvl5pPr>
            <a:lvl6pPr marL="2280660" indent="0">
              <a:buNone/>
              <a:defRPr sz="1400"/>
            </a:lvl6pPr>
            <a:lvl7pPr marL="2736791" indent="0">
              <a:buNone/>
              <a:defRPr sz="1400"/>
            </a:lvl7pPr>
            <a:lvl8pPr marL="3192925" indent="0">
              <a:buNone/>
              <a:defRPr sz="1400"/>
            </a:lvl8pPr>
            <a:lvl9pPr marL="364905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F4DFAF-7416-4394-90D8-8CC1BAA1053E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199459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1"/>
            <a:ext cx="8746435" cy="6852106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 algn="ctr" defTabSz="685647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6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763768"/>
            <a:ext cx="2365001" cy="71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38327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CB0713-ABE6-4793-893A-0B492E645CA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318181"/>
      </p:ext>
    </p:extLst>
  </p:cSld>
  <p:clrMapOvr>
    <a:masterClrMapping/>
  </p:clrMapOvr>
  <p:hf sldNum="0"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F3EB9D-9B44-418C-9B2E-D32A67A979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39409D-A5D9-4847-AC91-32C29923EA30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088789"/>
      </p:ext>
    </p:extLst>
  </p:cSld>
  <p:clrMapOvr>
    <a:masterClrMapping/>
  </p:clrMapOvr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eft"/>
          <p:cNvSpPr>
            <a:spLocks noGrp="1"/>
          </p:cNvSpPr>
          <p:nvPr>
            <p:ph type="body" idx="13" hasCustomPrompt="1"/>
          </p:nvPr>
        </p:nvSpPr>
        <p:spPr>
          <a:xfrm>
            <a:off x="371476" y="1118283"/>
            <a:ext cx="4126706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ight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118283"/>
            <a:ext cx="42291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439D83E-8F81-451B-AAA9-4B273DB3AD0C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65282"/>
      </p:ext>
    </p:extLst>
  </p:cSld>
  <p:clrMapOvr>
    <a:masterClrMapping/>
  </p:clrMapOvr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F86AC-35FC-45CE-8346-DDDAAAD6A84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125481"/>
      </p:ext>
    </p:extLst>
  </p:cSld>
  <p:clrMapOvr>
    <a:masterClrMapping/>
  </p:clrMapOvr>
  <p:hf sldNum="0"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35FC4DD-34A5-4677-832D-B024EEC6EE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CD0C85E-E5B4-4AA3-8A8E-0AED6EE6C968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77212"/>
      </p:ext>
    </p:extLst>
  </p:cSld>
  <p:clrMapOvr>
    <a:masterClrMapping/>
  </p:clrMapOvr>
  <p:hf sldNum="0"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844400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3583647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783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458558" y="4405085"/>
            <a:ext cx="2606040" cy="15004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Type 14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2"/>
          <p:cNvSpPr>
            <a:spLocks noGrp="1"/>
          </p:cNvSpPr>
          <p:nvPr>
            <p:ph sz="half" idx="17" hasCustomPrompt="1"/>
          </p:nvPr>
        </p:nvSpPr>
        <p:spPr>
          <a:xfrm>
            <a:off x="3287483" y="4405085"/>
            <a:ext cx="2606040" cy="1500413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Type 14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3"/>
          <p:cNvSpPr>
            <a:spLocks noGrp="1"/>
          </p:cNvSpPr>
          <p:nvPr>
            <p:ph sz="half" idx="18" hasCustomPrompt="1"/>
          </p:nvPr>
        </p:nvSpPr>
        <p:spPr>
          <a:xfrm>
            <a:off x="6087834" y="4405085"/>
            <a:ext cx="2606040" cy="1500413"/>
          </a:xfrm>
        </p:spPr>
        <p:txBody>
          <a:bodyPr/>
          <a:lstStyle>
            <a:lvl1pPr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Type 14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4C26CD5-34F3-447A-AB99-996C78750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7" name="Orange title 1">
            <a:extLst>
              <a:ext uri="{FF2B5EF4-FFF2-40B4-BE49-F238E27FC236}">
                <a16:creationId xmlns:a16="http://schemas.microsoft.com/office/drawing/2014/main" id="{6527FE76-EAF5-46DF-A8B1-057E2E101E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659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20" name="Orange title 2">
            <a:extLst>
              <a:ext uri="{FF2B5EF4-FFF2-40B4-BE49-F238E27FC236}">
                <a16:creationId xmlns:a16="http://schemas.microsoft.com/office/drawing/2014/main" id="{A3AD66D5-CC76-4534-BE48-B2161A8ED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7484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21" name="Orange title 3">
            <a:extLst>
              <a:ext uri="{FF2B5EF4-FFF2-40B4-BE49-F238E27FC236}">
                <a16:creationId xmlns:a16="http://schemas.microsoft.com/office/drawing/2014/main" id="{A0AF64BB-0F19-406C-A38C-9774B21BAC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87834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24CEBA1-C439-4556-A736-A42E329FEF9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949177"/>
      </p:ext>
    </p:extLst>
  </p:cSld>
  <p:clrMapOvr>
    <a:masterClrMapping/>
  </p:clrMapOvr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164592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9"/>
            <a:ext cx="164592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9"/>
            <a:ext cx="164592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9"/>
            <a:ext cx="164592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9"/>
            <a:ext cx="164592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085635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379979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551395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722811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B618BD47-FF2D-4F28-A6A1-AC6D6F55AD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One line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C3A5804-384E-43D9-AD23-F87D21A4AC2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96180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057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517436" y="1828799"/>
            <a:ext cx="2057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63397" y="1828799"/>
            <a:ext cx="20574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809357" y="1828799"/>
            <a:ext cx="20574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517436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4663397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9357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8B6576D-BE38-4862-BF49-409F9E9279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One line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A479A0-A083-43A5-A32D-E5697C9FDFC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50081"/>
      </p:ext>
    </p:extLst>
  </p:cSld>
  <p:clrMapOvr>
    <a:masterClrMapping/>
  </p:clrMapOvr>
  <p:hf sldNum="0"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132964" y="2492372"/>
            <a:ext cx="2743200" cy="3413128"/>
          </a:xfrm>
          <a:solidFill>
            <a:srgbClr val="EAEAEA"/>
          </a:solidFill>
        </p:spPr>
        <p:txBody>
          <a:bodyPr lIns="137160" tIns="45720" rIns="137160" bIns="4572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32964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252220" y="2492372"/>
            <a:ext cx="2743200" cy="3413128"/>
          </a:xfrm>
          <a:solidFill>
            <a:srgbClr val="EAEAEA"/>
          </a:solidFill>
        </p:spPr>
        <p:txBody>
          <a:bodyPr lIns="137160" tIns="45720" rIns="137160" bIns="4572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252220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2CDFF47-ED53-43FD-9BBC-78701BFFA4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One line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8689FC4-4D61-4F93-BA61-113C6A0485C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7280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4" y="960457"/>
            <a:ext cx="4037013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60457"/>
            <a:ext cx="4038600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812C65-3D77-4159-8F6C-1350EC2D24B4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259066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One line</a:t>
            </a:r>
          </a:p>
        </p:txBody>
      </p:sp>
      <p:sp>
        <p:nvSpPr>
          <p:cNvPr id="8" name="Header Left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4" y="1828801"/>
            <a:ext cx="41148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Right"/>
          <p:cNvSpPr>
            <a:spLocks noGrp="1"/>
          </p:cNvSpPr>
          <p:nvPr>
            <p:ph type="body" sz="quarter" idx="16" hasCustomPrompt="1"/>
          </p:nvPr>
        </p:nvSpPr>
        <p:spPr>
          <a:xfrm>
            <a:off x="4735284" y="1828798"/>
            <a:ext cx="41148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eft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4" y="2492372"/>
            <a:ext cx="41148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Right"/>
          <p:cNvSpPr>
            <a:spLocks noGrp="1"/>
          </p:cNvSpPr>
          <p:nvPr>
            <p:ph type="body" sz="quarter" idx="21" hasCustomPrompt="1"/>
          </p:nvPr>
        </p:nvSpPr>
        <p:spPr>
          <a:xfrm>
            <a:off x="4735284" y="2492372"/>
            <a:ext cx="41148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6BDB466E-A2B3-4E9F-A51F-6D8EA5C56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2934472-6B00-4733-8C9A-D11330F6E5E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848093"/>
      </p:ext>
    </p:extLst>
  </p:cSld>
  <p:clrMapOvr>
    <a:masterClrMapping/>
  </p:clrMapOvr>
  <p:hf sldNum="0"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One line</a:t>
            </a:r>
          </a:p>
        </p:txBody>
      </p:sp>
      <p:sp>
        <p:nvSpPr>
          <p:cNvPr id="15" name="Picture L"/>
          <p:cNvSpPr>
            <a:spLocks noGrp="1"/>
          </p:cNvSpPr>
          <p:nvPr>
            <p:ph type="pic" sz="quarter" idx="23" hasCustomPrompt="1"/>
          </p:nvPr>
        </p:nvSpPr>
        <p:spPr>
          <a:xfrm>
            <a:off x="393247" y="1828800"/>
            <a:ext cx="4178753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1883228" y="4470400"/>
            <a:ext cx="2688771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 hasCustomPrompt="1"/>
          </p:nvPr>
        </p:nvSpPr>
        <p:spPr>
          <a:xfrm>
            <a:off x="4572000" y="1828800"/>
            <a:ext cx="4286250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6169914" y="4470400"/>
            <a:ext cx="2688336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074C1D90-76B1-43FC-A4AD-940B5FED7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1B6E8D6-6C5B-47BF-B8CD-1808FFD53A96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456247"/>
      </p:ext>
    </p:extLst>
  </p:cSld>
  <p:clrMapOvr>
    <a:masterClrMapping/>
  </p:clrMapOvr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0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11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653241" y="3873724"/>
            <a:ext cx="1558019" cy="2031776"/>
          </a:xfrm>
          <a:solidFill>
            <a:schemeClr val="tx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3214799" y="1828800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4489134" y="3873724"/>
            <a:ext cx="1558019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6050554" y="1835374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7324889" y="3873724"/>
            <a:ext cx="1558019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F67FAC8-26AF-48A1-938F-B5C40D744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53EADF2F-9754-4251-B060-353E9526CC27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70804"/>
      </p:ext>
    </p:extLst>
  </p:cSld>
  <p:clrMapOvr>
    <a:masterClrMapping/>
  </p:clrMapOvr>
  <p:hf sldNum="0" hd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1"/>
            <a:ext cx="2114550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2500313" y="1828801"/>
            <a:ext cx="2118122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4618434" y="1826531"/>
            <a:ext cx="2116336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4"/>
          <p:cNvSpPr>
            <a:spLocks noGrp="1"/>
          </p:cNvSpPr>
          <p:nvPr>
            <p:ph type="pic" sz="quarter" idx="27" hasCustomPrompt="1"/>
          </p:nvPr>
        </p:nvSpPr>
        <p:spPr>
          <a:xfrm>
            <a:off x="6732985" y="1826531"/>
            <a:ext cx="2125266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404257" y="2971800"/>
            <a:ext cx="1096055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3522379" y="2971800"/>
            <a:ext cx="1096055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5638714" y="2971800"/>
            <a:ext cx="1096055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8" hasCustomPrompt="1"/>
          </p:nvPr>
        </p:nvSpPr>
        <p:spPr>
          <a:xfrm>
            <a:off x="7762195" y="2971800"/>
            <a:ext cx="1096055" cy="1439408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6C1780D9-CEF1-4E3B-B6D6-225DD4E899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429D42F-849B-4638-8AF5-949163C44DC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470692"/>
      </p:ext>
    </p:extLst>
  </p:cSld>
  <p:clrMapOvr>
    <a:masterClrMapping/>
  </p:clrMapOvr>
  <p:hf sldNum="0"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2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2082842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3779921" y="1826532"/>
            <a:ext cx="1680210" cy="1974141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4"/>
          <p:cNvSpPr>
            <a:spLocks noGrp="1"/>
          </p:cNvSpPr>
          <p:nvPr>
            <p:ph type="pic" sz="quarter" idx="27" hasCustomPrompt="1"/>
          </p:nvPr>
        </p:nvSpPr>
        <p:spPr>
          <a:xfrm>
            <a:off x="5477001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9" name="Picture 5"/>
          <p:cNvSpPr>
            <a:spLocks noGrp="1"/>
          </p:cNvSpPr>
          <p:nvPr>
            <p:ph type="pic" sz="quarter" idx="29" hasCustomPrompt="1"/>
          </p:nvPr>
        </p:nvSpPr>
        <p:spPr>
          <a:xfrm>
            <a:off x="7174081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228452" y="2700790"/>
            <a:ext cx="837520" cy="1099883"/>
          </a:xfrm>
          <a:solidFill>
            <a:schemeClr val="tx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 |</a:t>
            </a:r>
            <a:br>
              <a:rPr lang="en-US" dirty="0"/>
            </a:br>
            <a:r>
              <a:rPr lang="en-US" dirty="0"/>
              <a:t>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2925532" y="2700790"/>
            <a:ext cx="837520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4622612" y="2700790"/>
            <a:ext cx="837520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8" hasCustomPrompt="1"/>
          </p:nvPr>
        </p:nvSpPr>
        <p:spPr>
          <a:xfrm>
            <a:off x="6319692" y="2700790"/>
            <a:ext cx="837520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0" name="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7996578" y="2700790"/>
            <a:ext cx="837520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2E67BFEE-381A-4A6D-8DFD-43CABE625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93C7C08-C253-4916-B838-8FEC0E73DD6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850757"/>
      </p:ext>
    </p:extLst>
  </p:cSld>
  <p:clrMapOvr>
    <a:masterClrMapping/>
  </p:clrMapOvr>
  <p:hf sldNum="0"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1 line</a:t>
            </a:r>
          </a:p>
        </p:txBody>
      </p:sp>
      <p:sp>
        <p:nvSpPr>
          <p:cNvPr id="8" name="Header or 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7"/>
            <a:ext cx="164592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7" name="Header or icon 2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8"/>
            <a:ext cx="164592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Header or icon 3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8"/>
            <a:ext cx="164592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Header or icon 4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8"/>
            <a:ext cx="164592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0" name="Header or icon 5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8"/>
            <a:ext cx="164592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081553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3791631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1709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7211787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1631B6F8-C198-462C-AF03-A48233B06B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937EF4F6-6568-44B4-88C1-49E41F4F289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82529"/>
      </p:ext>
    </p:extLst>
  </p:cSld>
  <p:clrMapOvr>
    <a:masterClrMapping/>
  </p:clrMapOvr>
  <p:hf sldNum="0" hd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1 line</a:t>
            </a:r>
          </a:p>
        </p:txBody>
      </p:sp>
      <p:sp>
        <p:nvSpPr>
          <p:cNvPr id="8" name="Header or 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3088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Header or 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3223758"/>
            <a:ext cx="1273088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Header or 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4586060"/>
            <a:ext cx="1273088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738653" y="1861456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738653" y="3242808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738653" y="4624161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7CB5724-7345-4477-B6C2-91683C0C2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8520838D-7F4B-4C66-A002-92CAAE71523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791727"/>
      </p:ext>
    </p:extLst>
  </p:cSld>
  <p:clrMapOvr>
    <a:masterClrMapping/>
  </p:clrMapOvr>
  <p:hf sldNum="0"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1 line</a:t>
            </a:r>
          </a:p>
        </p:txBody>
      </p:sp>
      <p:sp>
        <p:nvSpPr>
          <p:cNvPr id="8" name="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5588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</a:t>
            </a:r>
            <a:br>
              <a:rPr lang="en-US" dirty="0"/>
            </a:br>
            <a:r>
              <a:rPr lang="en-US" dirty="0"/>
              <a:t>place cursor then hit space bar.]</a:t>
            </a:r>
          </a:p>
        </p:txBody>
      </p:sp>
      <p:sp>
        <p:nvSpPr>
          <p:cNvPr id="28" name="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887905"/>
            <a:ext cx="1275588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</a:t>
            </a:r>
            <a:br>
              <a:rPr lang="en-US" dirty="0"/>
            </a:br>
            <a:r>
              <a:rPr lang="en-US" dirty="0"/>
              <a:t>place cursor then hit space bar.]</a:t>
            </a:r>
          </a:p>
        </p:txBody>
      </p:sp>
      <p:sp>
        <p:nvSpPr>
          <p:cNvPr id="29" name="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3914354"/>
            <a:ext cx="1275588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</a:t>
            </a:r>
            <a:br>
              <a:rPr lang="en-US" dirty="0"/>
            </a:br>
            <a:r>
              <a:rPr lang="en-US" dirty="0"/>
              <a:t>place cursor then hit space bar.]</a:t>
            </a:r>
          </a:p>
        </p:txBody>
      </p:sp>
      <p:sp>
        <p:nvSpPr>
          <p:cNvPr id="13" name="Icon 4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4940802"/>
            <a:ext cx="1275588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</a:t>
            </a:r>
            <a:br>
              <a:rPr lang="en-US" dirty="0"/>
            </a:br>
            <a:r>
              <a:rPr lang="en-US" dirty="0"/>
              <a:t>place cursor then hit space bar.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709737" y="1861456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709737" y="2888302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712458" y="3914354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712458" y="4940406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89CC0DE-8E88-4C4F-BBB8-CB102DA4C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E696AF-BBC5-4783-9F3A-6F54C12FDEE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148047"/>
      </p:ext>
    </p:extLst>
  </p:cSld>
  <p:clrMapOvr>
    <a:masterClrMapping/>
  </p:clrMapOvr>
  <p:hf sldNum="0"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1 line</a:t>
            </a:r>
          </a:p>
        </p:txBody>
      </p:sp>
      <p:sp>
        <p:nvSpPr>
          <p:cNvPr id="8" name="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861456"/>
            <a:ext cx="787853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elete this text  and place icon here]</a:t>
            </a:r>
          </a:p>
        </p:txBody>
      </p:sp>
      <p:sp>
        <p:nvSpPr>
          <p:cNvPr id="28" name="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2681880"/>
            <a:ext cx="787853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elete this text  and place icon here]</a:t>
            </a:r>
          </a:p>
        </p:txBody>
      </p:sp>
      <p:sp>
        <p:nvSpPr>
          <p:cNvPr id="29" name="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3502304"/>
            <a:ext cx="787853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elete this text  and place icon here]</a:t>
            </a:r>
          </a:p>
        </p:txBody>
      </p:sp>
      <p:sp>
        <p:nvSpPr>
          <p:cNvPr id="13" name="Icon 4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6" y="4322728"/>
            <a:ext cx="787853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elete this text  and place icon here]</a:t>
            </a:r>
          </a:p>
        </p:txBody>
      </p:sp>
      <p:sp>
        <p:nvSpPr>
          <p:cNvPr id="15" name="Icon 5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6" y="5143150"/>
            <a:ext cx="787853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221922" y="1861456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224643" y="2679568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224643" y="3497680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221922" y="4315792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224643" y="5133905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0B0E6FC2-94CC-4D51-BB6C-453695373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5874DB9-744B-452C-99FD-AF7788F16D37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01585"/>
      </p:ext>
    </p:extLst>
  </p:cSld>
  <p:clrMapOvr>
    <a:masterClrMapping/>
  </p:clrMapOvr>
  <p:hf sldNum="0"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6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242808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4624161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FB6B105E-21BF-4886-A4F3-142D6B3B2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9124275B-1008-4B2B-AB84-BAC87DC37F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18288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4C1210C-8D9E-48D5-9261-DCE9AFCC4D99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17988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5" indent="0">
              <a:buNone/>
              <a:defRPr sz="2000" b="1"/>
            </a:lvl2pPr>
            <a:lvl3pPr marL="912264" indent="0">
              <a:buNone/>
              <a:defRPr sz="1800" b="1"/>
            </a:lvl3pPr>
            <a:lvl4pPr marL="1368397" indent="0">
              <a:buNone/>
              <a:defRPr sz="1600" b="1"/>
            </a:lvl4pPr>
            <a:lvl5pPr marL="1824527" indent="0">
              <a:buNone/>
              <a:defRPr sz="1600" b="1"/>
            </a:lvl5pPr>
            <a:lvl6pPr marL="2280660" indent="0">
              <a:buNone/>
              <a:defRPr sz="1600" b="1"/>
            </a:lvl6pPr>
            <a:lvl7pPr marL="2736791" indent="0">
              <a:buNone/>
              <a:defRPr sz="1600" b="1"/>
            </a:lvl7pPr>
            <a:lvl8pPr marL="3192925" indent="0">
              <a:buNone/>
              <a:defRPr sz="1600" b="1"/>
            </a:lvl8pPr>
            <a:lvl9pPr marL="364905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5" indent="0">
              <a:buNone/>
              <a:defRPr sz="2000" b="1"/>
            </a:lvl2pPr>
            <a:lvl3pPr marL="912264" indent="0">
              <a:buNone/>
              <a:defRPr sz="1800" b="1"/>
            </a:lvl3pPr>
            <a:lvl4pPr marL="1368397" indent="0">
              <a:buNone/>
              <a:defRPr sz="1600" b="1"/>
            </a:lvl4pPr>
            <a:lvl5pPr marL="1824527" indent="0">
              <a:buNone/>
              <a:defRPr sz="1600" b="1"/>
            </a:lvl5pPr>
            <a:lvl6pPr marL="2280660" indent="0">
              <a:buNone/>
              <a:defRPr sz="1600" b="1"/>
            </a:lvl6pPr>
            <a:lvl7pPr marL="2736791" indent="0">
              <a:buNone/>
              <a:defRPr sz="1600" b="1"/>
            </a:lvl7pPr>
            <a:lvl8pPr marL="3192925" indent="0">
              <a:buNone/>
              <a:defRPr sz="1600" b="1"/>
            </a:lvl8pPr>
            <a:lvl9pPr marL="364905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64EE472-BD1D-4AD7-B4A1-AD528674CB03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266189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7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889431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917405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945380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DAC82A9-851F-41ED-8839-FC7966AE0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5" name="Photo">
            <a:extLst>
              <a:ext uri="{FF2B5EF4-FFF2-40B4-BE49-F238E27FC236}">
                <a16:creationId xmlns:a16="http://schemas.microsoft.com/office/drawing/2014/main" id="{7F3D4019-DCDF-4857-847C-9573F0C1B01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48919CF-1810-49BB-A65C-5ABC038D21D3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29623"/>
      </p:ext>
    </p:extLst>
  </p:cSld>
  <p:clrMapOvr>
    <a:masterClrMapping/>
  </p:clrMapOvr>
  <p:hf sldNum="0"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case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8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696210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530962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365714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5200468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43BFB9B1-1EFA-44DF-8290-51EAEBD9B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Photo">
            <a:extLst>
              <a:ext uri="{FF2B5EF4-FFF2-40B4-BE49-F238E27FC236}">
                <a16:creationId xmlns:a16="http://schemas.microsoft.com/office/drawing/2014/main" id="{BCD7420F-31EF-411E-818F-128E1835AA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1A2F90CF-1B48-47A4-97C6-B97B28CC641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626866"/>
      </p:ext>
    </p:extLst>
  </p:cSld>
  <p:clrMapOvr>
    <a:masterClrMapping/>
  </p:clrMapOvr>
  <p:hf sldNum="0"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709F9-43F2-4A4B-9CDF-049534DE9E08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dirty="0">
                <a:solidFill>
                  <a:srgbClr val="888B8D"/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51626-B486-4759-B266-03B675213B53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23538"/>
      </p:ext>
    </p:extLst>
  </p:cSld>
  <p:clrMapOvr>
    <a:masterClrMapping/>
  </p:clrMapOvr>
  <p:hf sldNum="0"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  <a:spcAft>
                <a:spcPct val="0"/>
              </a:spcAft>
              <a:buClrTx/>
              <a:buFontTx/>
              <a:buNone/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13792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  <a:spcAft>
                <a:spcPct val="0"/>
              </a:spcAft>
              <a:buClrTx/>
              <a:buFontTx/>
              <a:buNone/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95761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  <a:spcAft>
                <a:spcPct val="0"/>
              </a:spcAft>
              <a:buClrTx/>
              <a:buFontTx/>
              <a:buNone/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10659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  <a:spcAft>
                <a:spcPct val="0"/>
              </a:spcAft>
              <a:buClrTx/>
              <a:buFontTx/>
              <a:buNone/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30598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5762" y="1104901"/>
            <a:ext cx="4033838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>
          <a:xfrm>
            <a:off x="385762" y="4122058"/>
            <a:ext cx="4033838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8268283A-D91D-4D73-9EBF-3B34754D95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00575" y="0"/>
            <a:ext cx="4733925" cy="6858000"/>
          </a:xfr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t" anchorCtr="0"/>
          <a:lstStyle>
            <a:lvl1pPr marL="0" marR="0" indent="0" algn="ctr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lvl1pPr>
          </a:lstStyle>
          <a:p>
            <a:endParaRPr lang="en-US" dirty="0"/>
          </a:p>
        </p:txBody>
      </p:sp>
      <p:sp>
        <p:nvSpPr>
          <p:cNvPr id="9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926783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IO_LOGOPLACEHOLDER#CenterBigStandard" hidden="1">
            <a:extLst>
              <a:ext uri="{FF2B5EF4-FFF2-40B4-BE49-F238E27FC236}">
                <a16:creationId xmlns:a16="http://schemas.microsoft.com/office/drawing/2014/main" id="{1733AA78-4AB3-4ED8-9E4B-FCB722703EAD}"/>
              </a:ext>
            </a:extLst>
          </p:cNvPr>
          <p:cNvSpPr/>
          <p:nvPr userDrawn="1"/>
        </p:nvSpPr>
        <p:spPr>
          <a:xfrm>
            <a:off x="1755321" y="1828800"/>
            <a:ext cx="5723165" cy="2857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8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7471" y="1901353"/>
            <a:ext cx="5724144" cy="1726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88948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3904343"/>
            <a:ext cx="5383666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452943"/>
            <a:ext cx="5383666" cy="325534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385761" y="4855804"/>
            <a:ext cx="5383666" cy="365125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.456.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  <a:spcAft>
                <a:spcPct val="0"/>
              </a:spcAft>
              <a:buClrTx/>
              <a:buFontTx/>
              <a:buNone/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6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638629"/>
            <a:ext cx="5385816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2" y="3177964"/>
            <a:ext cx="5385816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sp>
        <p:nvSpPr>
          <p:cNvPr id="14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9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2824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95F195-5643-4457-A4A3-D6C0E6CDF316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08201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077622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Divider Slide | orang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50399" y="2415961"/>
            <a:ext cx="7772400" cy="122331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45179" y="3815531"/>
            <a:ext cx="7772400" cy="5461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 descr="OPTUM_®_RGB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" y="473968"/>
            <a:ext cx="1526583" cy="47978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464427" y="6027549"/>
            <a:ext cx="8222373" cy="0"/>
          </a:xfrm>
          <a:prstGeom prst="line">
            <a:avLst/>
          </a:prstGeom>
          <a:ln w="12700">
            <a:solidFill>
              <a:srgbClr val="888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4427" y="1089890"/>
            <a:ext cx="8222373" cy="0"/>
          </a:xfrm>
          <a:prstGeom prst="line">
            <a:avLst/>
          </a:prstGeom>
          <a:ln w="12700">
            <a:solidFill>
              <a:srgbClr val="888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874386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402336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63440" y="1143000"/>
            <a:ext cx="402336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0" y="3808475"/>
            <a:ext cx="402336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63440" y="3808475"/>
            <a:ext cx="402336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190500"/>
            <a:ext cx="8229600" cy="546479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1853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69AF5146-07CB-48BB-954A-19934ABBAB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9394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B6132E-9489-403E-9C70-A5EC8D1E6C77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34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135" indent="0">
              <a:buNone/>
              <a:defRPr sz="1200"/>
            </a:lvl2pPr>
            <a:lvl3pPr marL="912264" indent="0">
              <a:buNone/>
              <a:defRPr sz="1000"/>
            </a:lvl3pPr>
            <a:lvl4pPr marL="1368397" indent="0">
              <a:buNone/>
              <a:defRPr sz="900"/>
            </a:lvl4pPr>
            <a:lvl5pPr marL="1824527" indent="0">
              <a:buNone/>
              <a:defRPr sz="900"/>
            </a:lvl5pPr>
            <a:lvl6pPr marL="2280660" indent="0">
              <a:buNone/>
              <a:defRPr sz="900"/>
            </a:lvl6pPr>
            <a:lvl7pPr marL="2736791" indent="0">
              <a:buNone/>
              <a:defRPr sz="900"/>
            </a:lvl7pPr>
            <a:lvl8pPr marL="3192925" indent="0">
              <a:buNone/>
              <a:defRPr sz="900"/>
            </a:lvl8pPr>
            <a:lvl9pPr marL="364905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58319B7-B15C-4726-9D61-72AFAC82B70E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8420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135" indent="0">
              <a:buNone/>
              <a:defRPr sz="2800"/>
            </a:lvl2pPr>
            <a:lvl3pPr marL="912264" indent="0">
              <a:buNone/>
              <a:defRPr sz="2400"/>
            </a:lvl3pPr>
            <a:lvl4pPr marL="1368397" indent="0">
              <a:buNone/>
              <a:defRPr sz="2000"/>
            </a:lvl4pPr>
            <a:lvl5pPr marL="1824527" indent="0">
              <a:buNone/>
              <a:defRPr sz="2000"/>
            </a:lvl5pPr>
            <a:lvl6pPr marL="2280660" indent="0">
              <a:buNone/>
              <a:defRPr sz="2000"/>
            </a:lvl6pPr>
            <a:lvl7pPr marL="2736791" indent="0">
              <a:buNone/>
              <a:defRPr sz="2000"/>
            </a:lvl7pPr>
            <a:lvl8pPr marL="3192925" indent="0">
              <a:buNone/>
              <a:defRPr sz="2000"/>
            </a:lvl8pPr>
            <a:lvl9pPr marL="3649055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135" indent="0">
              <a:buNone/>
              <a:defRPr sz="1200"/>
            </a:lvl2pPr>
            <a:lvl3pPr marL="912264" indent="0">
              <a:buNone/>
              <a:defRPr sz="1000"/>
            </a:lvl3pPr>
            <a:lvl4pPr marL="1368397" indent="0">
              <a:buNone/>
              <a:defRPr sz="900"/>
            </a:lvl4pPr>
            <a:lvl5pPr marL="1824527" indent="0">
              <a:buNone/>
              <a:defRPr sz="900"/>
            </a:lvl5pPr>
            <a:lvl6pPr marL="2280660" indent="0">
              <a:buNone/>
              <a:defRPr sz="900"/>
            </a:lvl6pPr>
            <a:lvl7pPr marL="2736791" indent="0">
              <a:buNone/>
              <a:defRPr sz="900"/>
            </a:lvl7pPr>
            <a:lvl8pPr marL="3192925" indent="0">
              <a:buNone/>
              <a:defRPr sz="900"/>
            </a:lvl8pPr>
            <a:lvl9pPr marL="364905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C91034C-00D1-4EA6-B256-7AD695C56CE4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82364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22EDEDF-BC38-4795-BDAD-47C50AFEEA66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8317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20"/>
            <a:ext cx="2057400" cy="60182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20"/>
            <a:ext cx="6019800" cy="60182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507CFE-1E38-4278-B1C8-84028B156FFE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6624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0" y="5105400"/>
            <a:ext cx="9144000" cy="1752600"/>
          </a:xfrm>
          <a:prstGeom prst="rect">
            <a:avLst/>
          </a:pr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11" tIns="45657" rIns="91311" bIns="45657" anchor="ctr"/>
          <a:lstStyle/>
          <a:p>
            <a:pPr algn="ctr" eaLnBrk="0" hangingPunct="0">
              <a:lnSpc>
                <a:spcPct val="95000"/>
              </a:lnSpc>
            </a:pPr>
            <a:endParaRPr lang="en-US" sz="2000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5" name="Picture 2" descr="Optum_RGB_PPT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4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Optum_ColorBand-0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362212" y="2682875"/>
            <a:ext cx="6124575" cy="647700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362212" y="5486400"/>
            <a:ext cx="6124575" cy="838200"/>
          </a:xfrm>
        </p:spPr>
        <p:txBody>
          <a:bodyPr/>
          <a:lstStyle>
            <a:lvl1pPr>
              <a:spcAft>
                <a:spcPct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1616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AB642-0244-4CCF-87A0-4A87AEF304DD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61705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60" indent="0">
              <a:buNone/>
              <a:defRPr sz="1800"/>
            </a:lvl2pPr>
            <a:lvl3pPr marL="913117" indent="0">
              <a:buNone/>
              <a:defRPr sz="1600"/>
            </a:lvl3pPr>
            <a:lvl4pPr marL="1369677" indent="0">
              <a:buNone/>
              <a:defRPr sz="1400"/>
            </a:lvl4pPr>
            <a:lvl5pPr marL="1826235" indent="0">
              <a:buNone/>
              <a:defRPr sz="1400"/>
            </a:lvl5pPr>
            <a:lvl6pPr marL="2282796" indent="0">
              <a:buNone/>
              <a:defRPr sz="1400"/>
            </a:lvl6pPr>
            <a:lvl7pPr marL="2739352" indent="0">
              <a:buNone/>
              <a:defRPr sz="1400"/>
            </a:lvl7pPr>
            <a:lvl8pPr marL="3195913" indent="0">
              <a:buNone/>
              <a:defRPr sz="1400"/>
            </a:lvl8pPr>
            <a:lvl9pPr marL="365247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DA207C-9194-4EC7-880A-53879378DBC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1447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4" y="990600"/>
            <a:ext cx="40370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01720A-4139-49B5-9645-2A4DE148C35C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77648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0" indent="0">
              <a:buNone/>
              <a:defRPr sz="2000" b="1"/>
            </a:lvl2pPr>
            <a:lvl3pPr marL="913117" indent="0">
              <a:buNone/>
              <a:defRPr sz="1800" b="1"/>
            </a:lvl3pPr>
            <a:lvl4pPr marL="1369677" indent="0">
              <a:buNone/>
              <a:defRPr sz="1600" b="1"/>
            </a:lvl4pPr>
            <a:lvl5pPr marL="1826235" indent="0">
              <a:buNone/>
              <a:defRPr sz="1600" b="1"/>
            </a:lvl5pPr>
            <a:lvl6pPr marL="2282796" indent="0">
              <a:buNone/>
              <a:defRPr sz="1600" b="1"/>
            </a:lvl6pPr>
            <a:lvl7pPr marL="2739352" indent="0">
              <a:buNone/>
              <a:defRPr sz="1600" b="1"/>
            </a:lvl7pPr>
            <a:lvl8pPr marL="3195913" indent="0">
              <a:buNone/>
              <a:defRPr sz="1600" b="1"/>
            </a:lvl8pPr>
            <a:lvl9pPr marL="365247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0" indent="0">
              <a:buNone/>
              <a:defRPr sz="2000" b="1"/>
            </a:lvl2pPr>
            <a:lvl3pPr marL="913117" indent="0">
              <a:buNone/>
              <a:defRPr sz="1800" b="1"/>
            </a:lvl3pPr>
            <a:lvl4pPr marL="1369677" indent="0">
              <a:buNone/>
              <a:defRPr sz="1600" b="1"/>
            </a:lvl4pPr>
            <a:lvl5pPr marL="1826235" indent="0">
              <a:buNone/>
              <a:defRPr sz="1600" b="1"/>
            </a:lvl5pPr>
            <a:lvl6pPr marL="2282796" indent="0">
              <a:buNone/>
              <a:defRPr sz="1600" b="1"/>
            </a:lvl6pPr>
            <a:lvl7pPr marL="2739352" indent="0">
              <a:buNone/>
              <a:defRPr sz="1600" b="1"/>
            </a:lvl7pPr>
            <a:lvl8pPr marL="3195913" indent="0">
              <a:buNone/>
              <a:defRPr sz="1600" b="1"/>
            </a:lvl8pPr>
            <a:lvl9pPr marL="365247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FF79BA-64FB-48B8-BEC5-A46CD5CCDA5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1797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2897" indent="0">
              <a:buNone/>
              <a:defRPr sz="1800"/>
            </a:lvl2pPr>
            <a:lvl3pPr marL="905784" indent="0">
              <a:buNone/>
              <a:defRPr sz="1600"/>
            </a:lvl3pPr>
            <a:lvl4pPr marL="1358673" indent="0">
              <a:buNone/>
              <a:defRPr sz="1400"/>
            </a:lvl4pPr>
            <a:lvl5pPr marL="1811561" indent="0">
              <a:buNone/>
              <a:defRPr sz="1400"/>
            </a:lvl5pPr>
            <a:lvl6pPr marL="2264452" indent="0">
              <a:buNone/>
              <a:defRPr sz="1400"/>
            </a:lvl6pPr>
            <a:lvl7pPr marL="2717338" indent="0">
              <a:buNone/>
              <a:defRPr sz="1400"/>
            </a:lvl7pPr>
            <a:lvl8pPr marL="3170231" indent="0">
              <a:buNone/>
              <a:defRPr sz="1400"/>
            </a:lvl8pPr>
            <a:lvl9pPr marL="362312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CDADC3EF-1F70-4504-97E1-E2BA8645A4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97131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14F699-B686-4F96-8D47-657AF8084C49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82170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37CC2-23A9-4860-9509-AB59A6E4C1B9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37139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60" indent="0">
              <a:buNone/>
              <a:defRPr sz="1200"/>
            </a:lvl2pPr>
            <a:lvl3pPr marL="913117" indent="0">
              <a:buNone/>
              <a:defRPr sz="1000"/>
            </a:lvl3pPr>
            <a:lvl4pPr marL="1369677" indent="0">
              <a:buNone/>
              <a:defRPr sz="900"/>
            </a:lvl4pPr>
            <a:lvl5pPr marL="1826235" indent="0">
              <a:buNone/>
              <a:defRPr sz="900"/>
            </a:lvl5pPr>
            <a:lvl6pPr marL="2282796" indent="0">
              <a:buNone/>
              <a:defRPr sz="900"/>
            </a:lvl6pPr>
            <a:lvl7pPr marL="2739352" indent="0">
              <a:buNone/>
              <a:defRPr sz="900"/>
            </a:lvl7pPr>
            <a:lvl8pPr marL="3195913" indent="0">
              <a:buNone/>
              <a:defRPr sz="900"/>
            </a:lvl8pPr>
            <a:lvl9pPr marL="365247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2CC438-11C6-4C39-9497-B00836AC71BF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45347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560" indent="0">
              <a:buNone/>
              <a:defRPr sz="2800"/>
            </a:lvl2pPr>
            <a:lvl3pPr marL="913117" indent="0">
              <a:buNone/>
              <a:defRPr sz="2400"/>
            </a:lvl3pPr>
            <a:lvl4pPr marL="1369677" indent="0">
              <a:buNone/>
              <a:defRPr sz="2000"/>
            </a:lvl4pPr>
            <a:lvl5pPr marL="1826235" indent="0">
              <a:buNone/>
              <a:defRPr sz="2000"/>
            </a:lvl5pPr>
            <a:lvl6pPr marL="2282796" indent="0">
              <a:buNone/>
              <a:defRPr sz="2000"/>
            </a:lvl6pPr>
            <a:lvl7pPr marL="2739352" indent="0">
              <a:buNone/>
              <a:defRPr sz="2000"/>
            </a:lvl7pPr>
            <a:lvl8pPr marL="3195913" indent="0">
              <a:buNone/>
              <a:defRPr sz="2000"/>
            </a:lvl8pPr>
            <a:lvl9pPr marL="365247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60" indent="0">
              <a:buNone/>
              <a:defRPr sz="1200"/>
            </a:lvl2pPr>
            <a:lvl3pPr marL="913117" indent="0">
              <a:buNone/>
              <a:defRPr sz="1000"/>
            </a:lvl3pPr>
            <a:lvl4pPr marL="1369677" indent="0">
              <a:buNone/>
              <a:defRPr sz="900"/>
            </a:lvl4pPr>
            <a:lvl5pPr marL="1826235" indent="0">
              <a:buNone/>
              <a:defRPr sz="900"/>
            </a:lvl5pPr>
            <a:lvl6pPr marL="2282796" indent="0">
              <a:buNone/>
              <a:defRPr sz="900"/>
            </a:lvl6pPr>
            <a:lvl7pPr marL="2739352" indent="0">
              <a:buNone/>
              <a:defRPr sz="900"/>
            </a:lvl7pPr>
            <a:lvl8pPr marL="3195913" indent="0">
              <a:buNone/>
              <a:defRPr sz="900"/>
            </a:lvl8pPr>
            <a:lvl9pPr marL="365247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46B0D5-7D03-4975-ABB5-F9AAD49EF5CF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14864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5C6BB9-7C74-45DF-BEEE-2B475066E2D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46056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588327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1EAF-896B-4B6F-82E9-A9C78B4BB7C7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0016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5097475"/>
            <a:ext cx="9144000" cy="1760537"/>
          </a:xfrm>
          <a:prstGeom prst="rect">
            <a:avLst/>
          </a:pr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11" tIns="45657" rIns="91311" bIns="45657" anchor="ctr"/>
          <a:lstStyle/>
          <a:p>
            <a:pPr algn="ctr" eaLnBrk="0" hangingPunct="0">
              <a:lnSpc>
                <a:spcPct val="95000"/>
              </a:lnSpc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5" name="Picture 11" descr="Optum_ColorBand-02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 descr="Optum_RGB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4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5097475"/>
            <a:ext cx="9144000" cy="1760537"/>
          </a:xfrm>
          <a:prstGeom prst="rect">
            <a:avLst/>
          </a:pr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11" tIns="45657" rIns="91311" bIns="45657" anchor="ctr"/>
          <a:lstStyle/>
          <a:p>
            <a:pPr algn="ctr" eaLnBrk="0" hangingPunct="0">
              <a:lnSpc>
                <a:spcPct val="95000"/>
              </a:lnSpc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3" descr="Optum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4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1016000" y="2456434"/>
            <a:ext cx="7772400" cy="1150366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1016000" y="5270504"/>
            <a:ext cx="7772400" cy="13843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6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3296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8" y="152400"/>
            <a:ext cx="8226425" cy="611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4" y="990600"/>
            <a:ext cx="8228013" cy="50450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3BEE6D-EBA6-4A1C-95C9-F2EDF692F649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56261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4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Optum_ColorBand-0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2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362212" y="2682875"/>
            <a:ext cx="6124575" cy="647700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362212" y="3581400"/>
            <a:ext cx="6124575" cy="838200"/>
          </a:xfrm>
        </p:spPr>
        <p:txBody>
          <a:bodyPr/>
          <a:lstStyle>
            <a:lvl1pPr>
              <a:spcAft>
                <a:spcPct val="0"/>
              </a:spcAft>
              <a:defRPr sz="1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717922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E1958C-C9B9-42A8-8C40-F060A8C99AC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44058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4" y="960457"/>
            <a:ext cx="4037013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60457"/>
            <a:ext cx="4038600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1145C0D1-E8EC-41CE-9604-208DF2C6D1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98163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60" indent="0">
              <a:buNone/>
              <a:defRPr sz="1800"/>
            </a:lvl2pPr>
            <a:lvl3pPr marL="913117" indent="0">
              <a:buNone/>
              <a:defRPr sz="1600"/>
            </a:lvl3pPr>
            <a:lvl4pPr marL="1369677" indent="0">
              <a:buNone/>
              <a:defRPr sz="1400"/>
            </a:lvl4pPr>
            <a:lvl5pPr marL="1826235" indent="0">
              <a:buNone/>
              <a:defRPr sz="1400"/>
            </a:lvl5pPr>
            <a:lvl6pPr marL="2282796" indent="0">
              <a:buNone/>
              <a:defRPr sz="1400"/>
            </a:lvl6pPr>
            <a:lvl7pPr marL="2739352" indent="0">
              <a:buNone/>
              <a:defRPr sz="1400"/>
            </a:lvl7pPr>
            <a:lvl8pPr marL="3195913" indent="0">
              <a:buNone/>
              <a:defRPr sz="1400"/>
            </a:lvl8pPr>
            <a:lvl9pPr marL="365247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E61A1-F99C-44E2-9B0D-9F5792F9AFC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22057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F3A4A-BBF2-4181-ACE9-8F793428533D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22377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0" indent="0">
              <a:buNone/>
              <a:defRPr sz="2000" b="1"/>
            </a:lvl2pPr>
            <a:lvl3pPr marL="913117" indent="0">
              <a:buNone/>
              <a:defRPr sz="1800" b="1"/>
            </a:lvl3pPr>
            <a:lvl4pPr marL="1369677" indent="0">
              <a:buNone/>
              <a:defRPr sz="1600" b="1"/>
            </a:lvl4pPr>
            <a:lvl5pPr marL="1826235" indent="0">
              <a:buNone/>
              <a:defRPr sz="1600" b="1"/>
            </a:lvl5pPr>
            <a:lvl6pPr marL="2282796" indent="0">
              <a:buNone/>
              <a:defRPr sz="1600" b="1"/>
            </a:lvl6pPr>
            <a:lvl7pPr marL="2739352" indent="0">
              <a:buNone/>
              <a:defRPr sz="1600" b="1"/>
            </a:lvl7pPr>
            <a:lvl8pPr marL="3195913" indent="0">
              <a:buNone/>
              <a:defRPr sz="1600" b="1"/>
            </a:lvl8pPr>
            <a:lvl9pPr marL="365247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0" indent="0">
              <a:buNone/>
              <a:defRPr sz="2000" b="1"/>
            </a:lvl2pPr>
            <a:lvl3pPr marL="913117" indent="0">
              <a:buNone/>
              <a:defRPr sz="1800" b="1"/>
            </a:lvl3pPr>
            <a:lvl4pPr marL="1369677" indent="0">
              <a:buNone/>
              <a:defRPr sz="1600" b="1"/>
            </a:lvl4pPr>
            <a:lvl5pPr marL="1826235" indent="0">
              <a:buNone/>
              <a:defRPr sz="1600" b="1"/>
            </a:lvl5pPr>
            <a:lvl6pPr marL="2282796" indent="0">
              <a:buNone/>
              <a:defRPr sz="1600" b="1"/>
            </a:lvl6pPr>
            <a:lvl7pPr marL="2739352" indent="0">
              <a:buNone/>
              <a:defRPr sz="1600" b="1"/>
            </a:lvl7pPr>
            <a:lvl8pPr marL="3195913" indent="0">
              <a:buNone/>
              <a:defRPr sz="1600" b="1"/>
            </a:lvl8pPr>
            <a:lvl9pPr marL="365247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D23EC-72A1-4A6B-9691-54BD553A9D55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3743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445ACE-5907-4BDD-BCBD-8956C44887EB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22606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DDDCA-AECE-42EE-9118-024852F689FA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7348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60" indent="0">
              <a:buNone/>
              <a:defRPr sz="1200"/>
            </a:lvl2pPr>
            <a:lvl3pPr marL="913117" indent="0">
              <a:buNone/>
              <a:defRPr sz="1000"/>
            </a:lvl3pPr>
            <a:lvl4pPr marL="1369677" indent="0">
              <a:buNone/>
              <a:defRPr sz="900"/>
            </a:lvl4pPr>
            <a:lvl5pPr marL="1826235" indent="0">
              <a:buNone/>
              <a:defRPr sz="900"/>
            </a:lvl5pPr>
            <a:lvl6pPr marL="2282796" indent="0">
              <a:buNone/>
              <a:defRPr sz="900"/>
            </a:lvl6pPr>
            <a:lvl7pPr marL="2739352" indent="0">
              <a:buNone/>
              <a:defRPr sz="900"/>
            </a:lvl7pPr>
            <a:lvl8pPr marL="3195913" indent="0">
              <a:buNone/>
              <a:defRPr sz="900"/>
            </a:lvl8pPr>
            <a:lvl9pPr marL="365247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FE2C0-AD05-4613-8E64-2AC21D0A96D8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6528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560" indent="0">
              <a:buNone/>
              <a:defRPr sz="2800"/>
            </a:lvl2pPr>
            <a:lvl3pPr marL="913117" indent="0">
              <a:buNone/>
              <a:defRPr sz="2400"/>
            </a:lvl3pPr>
            <a:lvl4pPr marL="1369677" indent="0">
              <a:buNone/>
              <a:defRPr sz="2000"/>
            </a:lvl4pPr>
            <a:lvl5pPr marL="1826235" indent="0">
              <a:buNone/>
              <a:defRPr sz="2000"/>
            </a:lvl5pPr>
            <a:lvl6pPr marL="2282796" indent="0">
              <a:buNone/>
              <a:defRPr sz="2000"/>
            </a:lvl6pPr>
            <a:lvl7pPr marL="2739352" indent="0">
              <a:buNone/>
              <a:defRPr sz="2000"/>
            </a:lvl7pPr>
            <a:lvl8pPr marL="3195913" indent="0">
              <a:buNone/>
              <a:defRPr sz="2000"/>
            </a:lvl8pPr>
            <a:lvl9pPr marL="365247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60" indent="0">
              <a:buNone/>
              <a:defRPr sz="1200"/>
            </a:lvl2pPr>
            <a:lvl3pPr marL="913117" indent="0">
              <a:buNone/>
              <a:defRPr sz="1000"/>
            </a:lvl3pPr>
            <a:lvl4pPr marL="1369677" indent="0">
              <a:buNone/>
              <a:defRPr sz="900"/>
            </a:lvl4pPr>
            <a:lvl5pPr marL="1826235" indent="0">
              <a:buNone/>
              <a:defRPr sz="900"/>
            </a:lvl5pPr>
            <a:lvl6pPr marL="2282796" indent="0">
              <a:buNone/>
              <a:defRPr sz="900"/>
            </a:lvl6pPr>
            <a:lvl7pPr marL="2739352" indent="0">
              <a:buNone/>
              <a:defRPr sz="900"/>
            </a:lvl7pPr>
            <a:lvl8pPr marL="3195913" indent="0">
              <a:buNone/>
              <a:defRPr sz="900"/>
            </a:lvl8pPr>
            <a:lvl9pPr marL="365247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07CBF0-638C-4CBF-A345-9773AE212587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70563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B10458-4822-48AD-BC75-504B9943B913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95800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FAC60C-4544-462B-813B-F0284455E07C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82012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Optum_RGB_PPT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Optum_ColorBand-02"/>
          <p:cNvPicPr preferRelativeResize="0">
            <a:picLocks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5"/>
          <p:cNvSpPr>
            <a:spLocks noChangeArrowheads="1"/>
          </p:cNvSpPr>
          <p:nvPr userDrawn="1"/>
        </p:nvSpPr>
        <p:spPr bwMode="auto">
          <a:xfrm>
            <a:off x="2362200" y="6307138"/>
            <a:ext cx="2741613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>
              <a:lnSpc>
                <a:spcPct val="95000"/>
              </a:lnSpc>
              <a:buClr>
                <a:srgbClr val="D45D00"/>
              </a:buClr>
            </a:pPr>
            <a:endParaRPr lang="en-US" sz="1000" dirty="0">
              <a:solidFill>
                <a:srgbClr val="63666A"/>
              </a:solidFill>
              <a:latin typeface="Arial" pitchFamily="34" charset="0"/>
              <a:ea typeface="Geneva" charset="-128"/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362200" y="5448300"/>
            <a:ext cx="6096000" cy="342900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62200" y="5791201"/>
            <a:ext cx="4800600" cy="547688"/>
          </a:xfrm>
        </p:spPr>
        <p:txBody>
          <a:bodyPr/>
          <a:lstStyle>
            <a:lvl1pPr>
              <a:spcAft>
                <a:spcPct val="0"/>
              </a:spcAft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1551187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2897" indent="0">
              <a:buNone/>
              <a:defRPr sz="2000" b="1"/>
            </a:lvl2pPr>
            <a:lvl3pPr marL="905784" indent="0">
              <a:buNone/>
              <a:defRPr sz="1800" b="1"/>
            </a:lvl3pPr>
            <a:lvl4pPr marL="1358673" indent="0">
              <a:buNone/>
              <a:defRPr sz="1600" b="1"/>
            </a:lvl4pPr>
            <a:lvl5pPr marL="1811561" indent="0">
              <a:buNone/>
              <a:defRPr sz="1600" b="1"/>
            </a:lvl5pPr>
            <a:lvl6pPr marL="2264452" indent="0">
              <a:buNone/>
              <a:defRPr sz="1600" b="1"/>
            </a:lvl6pPr>
            <a:lvl7pPr marL="2717338" indent="0">
              <a:buNone/>
              <a:defRPr sz="1600" b="1"/>
            </a:lvl7pPr>
            <a:lvl8pPr marL="3170231" indent="0">
              <a:buNone/>
              <a:defRPr sz="1600" b="1"/>
            </a:lvl8pPr>
            <a:lvl9pPr marL="362312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2897" indent="0">
              <a:buNone/>
              <a:defRPr sz="2000" b="1"/>
            </a:lvl2pPr>
            <a:lvl3pPr marL="905784" indent="0">
              <a:buNone/>
              <a:defRPr sz="1800" b="1"/>
            </a:lvl3pPr>
            <a:lvl4pPr marL="1358673" indent="0">
              <a:buNone/>
              <a:defRPr sz="1600" b="1"/>
            </a:lvl4pPr>
            <a:lvl5pPr marL="1811561" indent="0">
              <a:buNone/>
              <a:defRPr sz="1600" b="1"/>
            </a:lvl5pPr>
            <a:lvl6pPr marL="2264452" indent="0">
              <a:buNone/>
              <a:defRPr sz="1600" b="1"/>
            </a:lvl6pPr>
            <a:lvl7pPr marL="2717338" indent="0">
              <a:buNone/>
              <a:defRPr sz="1600" b="1"/>
            </a:lvl7pPr>
            <a:lvl8pPr marL="3170231" indent="0">
              <a:buNone/>
              <a:defRPr sz="1600" b="1"/>
            </a:lvl8pPr>
            <a:lvl9pPr marL="362312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64052E2B-12A2-417A-B58E-1C539C2ECC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75700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366AB-854E-4DA8-B873-520BFA27A87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21054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516811-107E-4250-B5CF-1EB11A9D05CD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4000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90601"/>
            <a:ext cx="40370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1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E96E3D-7863-4C51-95D3-7AD522A73B8C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48028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B230E3-B5BE-46CF-B1D2-FCAFD07FD208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06747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ADB2F7-BF39-46CD-B7D5-60358F4D9A70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7906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3770E2-0A95-4653-9D04-E2460D7FCDD2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5966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3770E2-0A95-4653-9D04-E2460D7FCDD2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-47766" y="0"/>
            <a:ext cx="9191767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95000"/>
              </a:lnSpc>
            </a:pPr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1034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310F93-3164-48F7-AA06-0CDCA8054894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03083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0AF392-D303-4461-8219-4BAB387CF9AF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638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E7A23A-D379-4621-9F64-874015E933D5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3472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9E92650E-3FE9-4C9F-A237-C702257947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93897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D592F-6882-46C4-9965-A5A111505EF5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25969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Optum_RGB_PPT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Optum_ColorBand-02"/>
          <p:cNvPicPr preferRelativeResize="0"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362200" y="5448300"/>
            <a:ext cx="6096000" cy="342900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62200" y="5791200"/>
            <a:ext cx="4800600" cy="547688"/>
          </a:xfrm>
        </p:spPr>
        <p:txBody>
          <a:bodyPr/>
          <a:lstStyle>
            <a:lvl1pPr>
              <a:spcAft>
                <a:spcPct val="0"/>
              </a:spcAft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89686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F5339A-124E-4CE1-B439-5D202D8C7C05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71270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B9896E-4938-43D6-8B5C-4EBEA04505F5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82803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90600"/>
            <a:ext cx="40370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9063C-7D4C-410F-A32A-26B28487CE28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52118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8227E2-BBC0-4188-9B81-EFB3FF9CD52E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1620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BEA11F-1267-4444-BD9C-82236BE333B2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96383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8E35A-28FB-47F2-8579-6669F4778AF7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19812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7222-AAED-4062-97A9-0AD831CB7F8A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93761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E1D569-49DE-4530-810C-A005F610A5EA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914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67E1D3C3-7963-452C-A434-3F72ADFAE7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56251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A28D4B-A856-4282-B8E1-76D08FCB40D1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19326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B06D6-B8AB-4FAA-BF87-7D915F319309}" type="slidenum">
              <a:rPr lang="en-US">
                <a:solidFill>
                  <a:srgbClr val="63666A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38792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5097465"/>
            <a:ext cx="9144000" cy="1760537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8" tIns="45709" rIns="91418" bIns="45709" anchor="ctr"/>
          <a:lstStyle/>
          <a:p>
            <a:pPr algn="ctr" eaLnBrk="0" hangingPunct="0">
              <a:lnSpc>
                <a:spcPct val="95000"/>
              </a:lnSpc>
            </a:pPr>
            <a:endParaRPr lang="en-US" sz="1400" b="1" dirty="0">
              <a:solidFill>
                <a:srgbClr val="FFFFFF"/>
              </a:solidFill>
            </a:endParaRPr>
          </a:p>
        </p:txBody>
      </p:sp>
      <p:pic>
        <p:nvPicPr>
          <p:cNvPr id="11" name="Picture 11" descr="Optum_ColorBand-0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3" descr="Optum_RGB_PP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2" y="228600"/>
            <a:ext cx="2157413" cy="67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1016000" y="2456434"/>
            <a:ext cx="7772400" cy="1150366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1016000" y="5270502"/>
            <a:ext cx="7772400" cy="13843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4948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675"/>
            <a:ext cx="8226425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493838"/>
            <a:ext cx="4037013" cy="466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493838"/>
            <a:ext cx="4037012" cy="466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spect="1" noChangeArrowheads="1"/>
          </p:cNvSpPr>
          <p:nvPr>
            <p:ph type="ftr" sz="quarter" idx="10"/>
          </p:nvPr>
        </p:nvSpPr>
        <p:spPr>
          <a:xfrm>
            <a:off x="209550" y="6453188"/>
            <a:ext cx="335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lnSpc>
                <a:spcPct val="95000"/>
              </a:lnSpc>
              <a:defRPr/>
            </a:pPr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2303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3" name="Picture 13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04888" y="5527675"/>
            <a:ext cx="7680325" cy="342900"/>
          </a:xfrm>
        </p:spPr>
        <p:txBody>
          <a:bodyPr/>
          <a:lstStyle>
            <a:lvl1pPr>
              <a:spcAft>
                <a:spcPct val="20000"/>
              </a:spcAft>
              <a:defRPr sz="20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04888" y="5930900"/>
            <a:ext cx="7680325" cy="547688"/>
          </a:xfrm>
        </p:spPr>
        <p:txBody>
          <a:bodyPr/>
          <a:lstStyle>
            <a:lvl1pPr marL="0" indent="0">
              <a:spcAft>
                <a:spcPct val="0"/>
              </a:spcAft>
              <a:buFontTx/>
              <a:buNone/>
              <a:defRPr sz="1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251" name="Picture 11" descr="Optum_ColorBand-0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887908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fld id="{BDFF92A8-16C2-4DDA-9EF6-94622B33C376}" type="slidenum">
              <a:rPr lang="en-US" smtClean="0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5127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9242147-6677-4639-9F3D-CE17646D5801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54918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60438"/>
            <a:ext cx="4037013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60438"/>
            <a:ext cx="4038600" cy="5210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fld id="{566BAC92-8A24-41A7-A4CE-5CD4F8B11907}" type="slidenum">
              <a:rPr lang="en-US" smtClean="0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9910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EFF599-39A8-421C-AFDE-286FEF8A2158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9490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CF9A2E-7D05-4797-A589-0ADFD53369D6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4985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2897" indent="0">
              <a:buNone/>
              <a:defRPr sz="1200"/>
            </a:lvl2pPr>
            <a:lvl3pPr marL="905784" indent="0">
              <a:buNone/>
              <a:defRPr sz="1000"/>
            </a:lvl3pPr>
            <a:lvl4pPr marL="1358673" indent="0">
              <a:buNone/>
              <a:defRPr sz="900"/>
            </a:lvl4pPr>
            <a:lvl5pPr marL="1811561" indent="0">
              <a:buNone/>
              <a:defRPr sz="900"/>
            </a:lvl5pPr>
            <a:lvl6pPr marL="2264452" indent="0">
              <a:buNone/>
              <a:defRPr sz="900"/>
            </a:lvl6pPr>
            <a:lvl7pPr marL="2717338" indent="0">
              <a:buNone/>
              <a:defRPr sz="900"/>
            </a:lvl7pPr>
            <a:lvl8pPr marL="3170231" indent="0">
              <a:buNone/>
              <a:defRPr sz="900"/>
            </a:lvl8pPr>
            <a:lvl9pPr marL="362312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7377B142-E1B8-41B3-BBC7-722C9FCE44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192353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0248DC-A90D-44EC-B08C-06A7AFAF2463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99097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367AC0-33DD-4218-994C-146579A234A1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85133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026A3A-3D3F-4FC4-88CD-939BF226CD63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01127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F5AA757-B5E9-415F-B328-0D8E018B5DA2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9234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7813" y="152400"/>
            <a:ext cx="2057400" cy="60182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52400"/>
            <a:ext cx="6019800" cy="60182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DA6738-288C-4C43-943B-0E8F01167DC9}" type="slidenum">
              <a:rPr lang="en-US">
                <a:solidFill>
                  <a:srgbClr val="63666A"/>
                </a:solidFill>
              </a:rPr>
              <a:pPr/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022139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B685056C-58C9-4C6E-AA6E-63440640BC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9617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32898AED-7868-40C6-B4A3-AFDE60D4A5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08795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90600"/>
            <a:ext cx="40370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990600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8728F6DD-1FBA-41D9-8A09-7BC74697F8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24379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1BB0375B-6560-4A19-A47F-E0C5C0AD7B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715964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1D2A3186-C62A-4042-9851-7A9F67BDAB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92677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2897" indent="0">
              <a:buNone/>
              <a:defRPr sz="2800"/>
            </a:lvl2pPr>
            <a:lvl3pPr marL="905784" indent="0">
              <a:buNone/>
              <a:defRPr sz="2400"/>
            </a:lvl3pPr>
            <a:lvl4pPr marL="1358673" indent="0">
              <a:buNone/>
              <a:defRPr sz="2000"/>
            </a:lvl4pPr>
            <a:lvl5pPr marL="1811561" indent="0">
              <a:buNone/>
              <a:defRPr sz="2000"/>
            </a:lvl5pPr>
            <a:lvl6pPr marL="2264452" indent="0">
              <a:buNone/>
              <a:defRPr sz="2000"/>
            </a:lvl6pPr>
            <a:lvl7pPr marL="2717338" indent="0">
              <a:buNone/>
              <a:defRPr sz="2000"/>
            </a:lvl7pPr>
            <a:lvl8pPr marL="3170231" indent="0">
              <a:buNone/>
              <a:defRPr sz="2000"/>
            </a:lvl8pPr>
            <a:lvl9pPr marL="362312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2897" indent="0">
              <a:buNone/>
              <a:defRPr sz="1200"/>
            </a:lvl2pPr>
            <a:lvl3pPr marL="905784" indent="0">
              <a:buNone/>
              <a:defRPr sz="1000"/>
            </a:lvl3pPr>
            <a:lvl4pPr marL="1358673" indent="0">
              <a:buNone/>
              <a:defRPr sz="900"/>
            </a:lvl4pPr>
            <a:lvl5pPr marL="1811561" indent="0">
              <a:buNone/>
              <a:defRPr sz="900"/>
            </a:lvl5pPr>
            <a:lvl6pPr marL="2264452" indent="0">
              <a:buNone/>
              <a:defRPr sz="900"/>
            </a:lvl6pPr>
            <a:lvl7pPr marL="2717338" indent="0">
              <a:buNone/>
              <a:defRPr sz="900"/>
            </a:lvl7pPr>
            <a:lvl8pPr marL="3170231" indent="0">
              <a:buNone/>
              <a:defRPr sz="900"/>
            </a:lvl8pPr>
            <a:lvl9pPr marL="362312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 Unicode MS" pitchFamily="34" charset="-128"/>
                <a:cs typeface="Arial" charset="0"/>
              </a:defRPr>
            </a:lvl1pPr>
          </a:lstStyle>
          <a:p>
            <a:pPr>
              <a:defRPr/>
            </a:pPr>
            <a:fld id="{53C2D21F-2652-42D0-AE5B-6024EFCB3B3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63617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31FBF376-F291-4C12-BF6A-B8B9245953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945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04800" y="772160"/>
            <a:ext cx="8534400" cy="5171440"/>
          </a:xfrm>
        </p:spPr>
        <p:txBody>
          <a:bodyPr/>
          <a:lstStyle>
            <a:lvl1pPr>
              <a:buClr>
                <a:srgbClr val="8CC640"/>
              </a:buClr>
              <a:defRPr/>
            </a:lvl1pPr>
            <a:lvl2pPr>
              <a:buClr>
                <a:srgbClr val="8CC640"/>
              </a:buClr>
              <a:defRPr/>
            </a:lvl2pPr>
            <a:lvl3pPr>
              <a:buClr>
                <a:srgbClr val="8CC640"/>
              </a:buClr>
              <a:defRPr/>
            </a:lvl3pPr>
            <a:lvl4pPr>
              <a:buClr>
                <a:srgbClr val="8CC640"/>
              </a:buClr>
              <a:defRPr/>
            </a:lvl4pPr>
            <a:lvl5pPr>
              <a:buClr>
                <a:srgbClr val="8CC640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106626"/>
            <a:ext cx="8534400" cy="4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7345524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06451203_20rev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35075"/>
            <a:ext cx="9144000" cy="377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47416" y="5270500"/>
            <a:ext cx="6400800" cy="13716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347416" y="2468880"/>
            <a:ext cx="6400800" cy="1143000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25" descr="OPTUM_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875" y="247650"/>
            <a:ext cx="211455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942219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5097463"/>
            <a:ext cx="9144000" cy="1760537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53565A"/>
              </a:solidFill>
              <a:latin typeface="Arial"/>
            </a:endParaRPr>
          </a:p>
        </p:txBody>
      </p:sp>
      <p:pic>
        <p:nvPicPr>
          <p:cNvPr id="11" name="Picture 11" descr="Optum_ColorBand-0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2347416" y="2468880"/>
            <a:ext cx="6400800" cy="1143000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347416" y="5270500"/>
            <a:ext cx="6400800" cy="13716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25" descr="OPTUM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875" y="247650"/>
            <a:ext cx="211455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248902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7" descr="BLP00390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35075"/>
            <a:ext cx="9139238" cy="378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6000" y="5270500"/>
            <a:ext cx="7772400" cy="5461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13" descr="Optum_RGB_PP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016000" y="2456434"/>
            <a:ext cx="7772400" cy="1150366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60409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402336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63440" y="1143000"/>
            <a:ext cx="402336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57200" y="190500"/>
            <a:ext cx="8229600" cy="769938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402336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63440" y="1143000"/>
            <a:ext cx="4023360" cy="2468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0" y="3808475"/>
            <a:ext cx="4023360" cy="2468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63440" y="3808475"/>
            <a:ext cx="4023360" cy="2468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190500"/>
            <a:ext cx="8229600" cy="769938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LP0039002.JPG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35075"/>
            <a:ext cx="9139238" cy="378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3" descr="Optum_RGB_PPT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Optum_ColorBand-02"/>
          <p:cNvPicPr preferRelativeResize="0">
            <a:picLocks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6000" y="5270500"/>
            <a:ext cx="7772400" cy="5461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016000" y="2456434"/>
            <a:ext cx="7772400" cy="1150366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0" y="5097463"/>
            <a:ext cx="9144000" cy="1760537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pic>
        <p:nvPicPr>
          <p:cNvPr id="5" name="Picture 11" descr="Optum_ColorBand-02"/>
          <p:cNvPicPr preferRelativeResize="0"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5008563"/>
            <a:ext cx="9144000" cy="10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3" descr="Optum_RGB_PPT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81000" y="228600"/>
            <a:ext cx="2157413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1016000" y="2456434"/>
            <a:ext cx="7772400" cy="1150366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1016000" y="5270500"/>
            <a:ext cx="7772400" cy="1384300"/>
          </a:xfrm>
        </p:spPr>
        <p:txBody>
          <a:bodyPr>
            <a:norm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slideLayout" Target="../slideLayouts/slideLayout138.xml"/><Relationship Id="rId39" Type="http://schemas.openxmlformats.org/officeDocument/2006/relationships/image" Target="../media/image31.png"/><Relationship Id="rId21" Type="http://schemas.openxmlformats.org/officeDocument/2006/relationships/slideLayout" Target="../slideLayouts/slideLayout133.xml"/><Relationship Id="rId34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slideLayout" Target="../slideLayouts/slideLayout137.xml"/><Relationship Id="rId33" Type="http://schemas.openxmlformats.org/officeDocument/2006/relationships/slideLayout" Target="../slideLayouts/slideLayout145.xml"/><Relationship Id="rId38" Type="http://schemas.openxmlformats.org/officeDocument/2006/relationships/theme" Target="../theme/theme10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29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slideLayout" Target="../slideLayouts/slideLayout136.xml"/><Relationship Id="rId32" Type="http://schemas.openxmlformats.org/officeDocument/2006/relationships/slideLayout" Target="../slideLayouts/slideLayout144.xml"/><Relationship Id="rId37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slideLayout" Target="../slideLayouts/slideLayout135.xml"/><Relationship Id="rId28" Type="http://schemas.openxmlformats.org/officeDocument/2006/relationships/slideLayout" Target="../slideLayouts/slideLayout140.xml"/><Relationship Id="rId36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31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slideLayout" Target="../slideLayouts/slideLayout139.xml"/><Relationship Id="rId30" Type="http://schemas.openxmlformats.org/officeDocument/2006/relationships/slideLayout" Target="../slideLayouts/slideLayout142.xml"/><Relationship Id="rId35" Type="http://schemas.openxmlformats.org/officeDocument/2006/relationships/slideLayout" Target="../slideLayouts/slideLayout147.xml"/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9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170.xml"/><Relationship Id="rId34" Type="http://schemas.openxmlformats.org/officeDocument/2006/relationships/slideLayout" Target="../slideLayouts/slideLayout183.xml"/><Relationship Id="rId42" Type="http://schemas.openxmlformats.org/officeDocument/2006/relationships/slideLayout" Target="../slideLayouts/slideLayout191.xml"/><Relationship Id="rId47" Type="http://schemas.openxmlformats.org/officeDocument/2006/relationships/tags" Target="../tags/tag6.xml"/><Relationship Id="rId50" Type="http://schemas.openxmlformats.org/officeDocument/2006/relationships/tags" Target="../tags/tag9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slideLayout" Target="../slideLayouts/slideLayout181.xml"/><Relationship Id="rId37" Type="http://schemas.openxmlformats.org/officeDocument/2006/relationships/slideLayout" Target="../slideLayouts/slideLayout186.xml"/><Relationship Id="rId40" Type="http://schemas.openxmlformats.org/officeDocument/2006/relationships/slideLayout" Target="../slideLayouts/slideLayout189.xml"/><Relationship Id="rId45" Type="http://schemas.openxmlformats.org/officeDocument/2006/relationships/vmlDrawing" Target="../drawings/vmlDrawing1.vml"/><Relationship Id="rId53" Type="http://schemas.openxmlformats.org/officeDocument/2006/relationships/image" Target="../media/image40.emf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31" Type="http://schemas.openxmlformats.org/officeDocument/2006/relationships/slideLayout" Target="../slideLayouts/slideLayout180.xml"/><Relationship Id="rId44" Type="http://schemas.openxmlformats.org/officeDocument/2006/relationships/theme" Target="../theme/theme11.xml"/><Relationship Id="rId52" Type="http://schemas.openxmlformats.org/officeDocument/2006/relationships/image" Target="../media/image41.emf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35" Type="http://schemas.openxmlformats.org/officeDocument/2006/relationships/slideLayout" Target="../slideLayouts/slideLayout184.xml"/><Relationship Id="rId43" Type="http://schemas.openxmlformats.org/officeDocument/2006/relationships/slideLayout" Target="../slideLayouts/slideLayout192.xml"/><Relationship Id="rId48" Type="http://schemas.openxmlformats.org/officeDocument/2006/relationships/tags" Target="../tags/tag7.xml"/><Relationship Id="rId8" Type="http://schemas.openxmlformats.org/officeDocument/2006/relationships/slideLayout" Target="../slideLayouts/slideLayout157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slideLayout" Target="../slideLayouts/slideLayout182.xml"/><Relationship Id="rId38" Type="http://schemas.openxmlformats.org/officeDocument/2006/relationships/slideLayout" Target="../slideLayouts/slideLayout187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169.xml"/><Relationship Id="rId41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36" Type="http://schemas.openxmlformats.org/officeDocument/2006/relationships/slideLayout" Target="../slideLayouts/slideLayout185.xml"/><Relationship Id="rId49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2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6046" y="152680"/>
            <a:ext cx="8226136" cy="61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550" y="960907"/>
            <a:ext cx="8227579" cy="52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80656"/>
            <a:ext cx="304512" cy="15127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sz="800">
                <a:solidFill>
                  <a:srgbClr val="63666A"/>
                </a:solidFill>
                <a:latin typeface="Arial" pitchFamily="34" charset="0"/>
                <a:ea typeface="Arial Unicode MS"/>
                <a:cs typeface="Arial Unicode MS" pitchFamily="34" charset="-128"/>
              </a:defRPr>
            </a:lvl1pPr>
          </a:lstStyle>
          <a:p>
            <a:pPr defTabSz="907904">
              <a:defRPr/>
            </a:pPr>
            <a:fld id="{3EFB9378-D6EA-4029-BB1F-6D5DED8B117A}" type="slidenum">
              <a:rPr lang="en-US" smtClean="0"/>
              <a:pPr defTabSz="907904">
                <a:defRPr/>
              </a:pPr>
              <a:t>‹#›</a:t>
            </a:fld>
            <a:endParaRPr lang="en-US" dirty="0"/>
          </a:p>
        </p:txBody>
      </p:sp>
      <p:sp>
        <p:nvSpPr>
          <p:cNvPr id="19461" name="Line 9"/>
          <p:cNvSpPr>
            <a:spLocks noChangeShapeType="1"/>
          </p:cNvSpPr>
          <p:nvPr/>
        </p:nvSpPr>
        <p:spPr bwMode="auto">
          <a:xfrm>
            <a:off x="457538" y="837640"/>
            <a:ext cx="8229023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579" tIns="45294" rIns="90579" bIns="45294" anchor="ctr"/>
          <a:lstStyle/>
          <a:p>
            <a:pPr defTabSz="907904">
              <a:lnSpc>
                <a:spcPct val="95000"/>
              </a:lnSpc>
              <a:spcAft>
                <a:spcPct val="35000"/>
              </a:spcAft>
              <a:buClr>
                <a:srgbClr val="D45D00"/>
              </a:buClr>
              <a:buFontTx/>
              <a:buChar char="•"/>
            </a:pPr>
            <a:endParaRPr lang="en-US" dirty="0">
              <a:solidFill>
                <a:srgbClr val="63666A"/>
              </a:solidFill>
              <a:latin typeface="Arial"/>
            </a:endParaRPr>
          </a:p>
        </p:txBody>
      </p:sp>
      <p:sp>
        <p:nvSpPr>
          <p:cNvPr id="20486" name="Text Box 14"/>
          <p:cNvSpPr txBox="1">
            <a:spLocks noChangeArrowheads="1"/>
          </p:cNvSpPr>
          <p:nvPr/>
        </p:nvSpPr>
        <p:spPr bwMode="auto">
          <a:xfrm>
            <a:off x="6459333" y="6580659"/>
            <a:ext cx="184185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defTabSz="907904">
              <a:defRPr/>
            </a:pPr>
            <a:r>
              <a:rPr lang="en-US" sz="700" dirty="0">
                <a:solidFill>
                  <a:srgbClr val="63666A"/>
                </a:solidFill>
              </a:rPr>
              <a:t>Proprietary and Confidential. Do not distribute.</a:t>
            </a:r>
          </a:p>
        </p:txBody>
      </p:sp>
      <p:pic>
        <p:nvPicPr>
          <p:cNvPr id="19463" name="Picture 16" descr="Optum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977" y="6278158"/>
            <a:ext cx="1189182" cy="37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Picture 12" descr="Optum_ColorBand-02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5038" y="6475600"/>
            <a:ext cx="7200034" cy="4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8511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2897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05784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58673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11561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64066" indent="-164066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02087" indent="-223462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786373" indent="-168305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127230" indent="-226314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405839" indent="-1626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1860308" indent="-165121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313200" indent="-165121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766096" indent="-165121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218985" indent="-165121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97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84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673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561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452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338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231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3120" algn="l" defTabSz="9057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1475" y="0"/>
            <a:ext cx="8486775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1475" y="1825625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5750" y="7386866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8D365E-EC9D-4236-A471-863B45723A02}" type="datetime1">
              <a:rPr lang="en-US" smtClean="0">
                <a:solidFill>
                  <a:srgbClr val="55565A">
                    <a:tint val="75000"/>
                  </a:srgbClr>
                </a:solidFill>
                <a:latin typeface="Arial" panose="020B060402020202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89760" y="6486983"/>
            <a:ext cx="652557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55565A">
                    <a:tint val="75000"/>
                  </a:srgbClr>
                </a:solidFill>
                <a:latin typeface="Arial" panose="020B0604020202020204"/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48675" y="6486983"/>
            <a:ext cx="40685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  <a:latin typeface="Arial" panose="020B060402020202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  <a:latin typeface="Arial" panose="020B0604020202020204"/>
            </a:endParaRP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FBD12F-70CE-4189-B019-73D6EAD2C6EA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25" y="6279945"/>
            <a:ext cx="1300127" cy="54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38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  <p:sldLayoutId id="2147484060" r:id="rId23"/>
    <p:sldLayoutId id="2147484061" r:id="rId24"/>
    <p:sldLayoutId id="2147484062" r:id="rId25"/>
    <p:sldLayoutId id="2147484063" r:id="rId26"/>
    <p:sldLayoutId id="2147484064" r:id="rId27"/>
    <p:sldLayoutId id="2147484065" r:id="rId28"/>
    <p:sldLayoutId id="2147484066" r:id="rId29"/>
    <p:sldLayoutId id="2147484067" r:id="rId30"/>
    <p:sldLayoutId id="2147484068" r:id="rId31"/>
    <p:sldLayoutId id="2147484069" r:id="rId32"/>
    <p:sldLayoutId id="2147484070" r:id="rId33"/>
    <p:sldLayoutId id="2147484071" r:id="rId34"/>
    <p:sldLayoutId id="2147484072" r:id="rId35"/>
    <p:sldLayoutId id="2147484073" r:id="rId36"/>
    <p:sldLayoutId id="2147484074" r:id="rId3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5000"/>
        </a:lnSpc>
        <a:spcBef>
          <a:spcPts val="1800"/>
        </a:spcBef>
        <a:spcAft>
          <a:spcPts val="450"/>
        </a:spcAft>
        <a:buFont typeface="Arial" panose="020B0604020202020204" pitchFamily="34" charset="0"/>
        <a:buChar char="​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228600" indent="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4000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6286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572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8572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8572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72" pos="2862" userDrawn="1">
          <p15:clr>
            <a:srgbClr val="F26B43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5580" userDrawn="1">
          <p15:clr>
            <a:srgbClr val="F26B43"/>
          </p15:clr>
        </p15:guide>
        <p15:guide id="76" pos="180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234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5526" userDrawn="1">
          <p15:clr>
            <a:srgbClr val="F26B43"/>
          </p15:clr>
        </p15:guide>
        <p15:guide id="85" pos="2898" userDrawn="1">
          <p15:clr>
            <a:srgbClr val="F26B43"/>
          </p15:clr>
        </p15:guide>
        <p15:guide id="86" pos="2016" userDrawn="1">
          <p15:clr>
            <a:srgbClr val="F26B43"/>
          </p15:clr>
        </p15:guide>
        <p15:guide id="87" pos="3744" userDrawn="1">
          <p15:clr>
            <a:srgbClr val="F26B43"/>
          </p15:clr>
        </p15:guide>
        <p15:guide id="88" pos="1980" userDrawn="1">
          <p15:clr>
            <a:srgbClr val="F26B43"/>
          </p15:clr>
        </p15:guide>
        <p15:guide id="89" pos="378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92" name="think-cell Slide" r:id="rId51" imgW="360" imgH="360" progId="TCLayout.ActiveDocument.1">
                  <p:embed/>
                </p:oleObj>
              </mc:Choice>
              <mc:Fallback>
                <p:oleObj name="think-cell Slide" r:id="rId51" imgW="360" imgH="36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3000" b="0" i="0" u="none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371475" y="0"/>
            <a:ext cx="8486775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371475" y="1825625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5750" y="7386866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277E0E25-6F15-4EF9-9E73-3B348B1E826F}" type="datetime1">
              <a:rPr lang="en-US" smtClean="0">
                <a:solidFill>
                  <a:srgbClr val="55565A">
                    <a:tint val="75000"/>
                  </a:srgbClr>
                </a:solidFill>
                <a:latin typeface="Arial" panose="020B0604020202020204"/>
                <a:ea typeface="+mn-ea"/>
                <a:cs typeface="+mn-cs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3/11/20</a:t>
            </a:fld>
            <a:endParaRPr lang="en-US" dirty="0">
              <a:solidFill>
                <a:srgbClr val="55565A">
                  <a:tint val="75000"/>
                </a:srgbClr>
              </a:solidFill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FBD12F-70CE-4189-B019-73D6EAD2C6EA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4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75385" y="6583233"/>
            <a:ext cx="386040" cy="16459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BC151626-B486-4759-B266-03B675213B53}" type="slidenum">
              <a:rPr lang="en-US" smtClean="0">
                <a:solidFill>
                  <a:srgbClr val="888B8D"/>
                </a:solidFill>
                <a:latin typeface="Arial" panose="020B0604020202020204"/>
                <a:ea typeface="+mn-ea"/>
                <a:cs typeface="+mn-cs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en-US" dirty="0">
              <a:solidFill>
                <a:srgbClr val="888B8D"/>
              </a:solidFill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 hidden="1"/>
          <p:cNvSpPr txBox="1"/>
          <p:nvPr>
            <p:custDataLst>
              <p:tags r:id="rId49"/>
            </p:custDataLst>
          </p:nvPr>
        </p:nvSpPr>
        <p:spPr>
          <a:xfrm rot="20625550">
            <a:off x="36260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FontTx/>
              <a:buNone/>
            </a:pPr>
            <a:endParaRPr lang="en-US" sz="6600" dirty="0">
              <a:solidFill>
                <a:srgbClr val="B1B3B3">
                  <a:lumMod val="20000"/>
                  <a:lumOff val="80000"/>
                </a:srgbClr>
              </a:solidFill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50"/>
            </p:custDataLst>
          </p:nvPr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917" y="6376416"/>
            <a:ext cx="1091539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14240" y="6376416"/>
            <a:ext cx="365259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dirty="0">
                <a:solidFill>
                  <a:srgbClr val="888B8D"/>
                </a:solidFill>
                <a:latin typeface="Arial" panose="020B0604020202020204"/>
                <a:ea typeface="+mn-ea"/>
                <a:cs typeface="+mn-cs"/>
              </a:rPr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84145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  <p:sldLayoutId id="2147484108" r:id="rId22"/>
    <p:sldLayoutId id="2147484109" r:id="rId23"/>
    <p:sldLayoutId id="2147484110" r:id="rId24"/>
    <p:sldLayoutId id="2147484111" r:id="rId25"/>
    <p:sldLayoutId id="2147484112" r:id="rId26"/>
    <p:sldLayoutId id="2147484113" r:id="rId27"/>
    <p:sldLayoutId id="2147484114" r:id="rId28"/>
    <p:sldLayoutId id="2147484115" r:id="rId29"/>
    <p:sldLayoutId id="2147484116" r:id="rId30"/>
    <p:sldLayoutId id="2147484117" r:id="rId31"/>
    <p:sldLayoutId id="2147484118" r:id="rId32"/>
    <p:sldLayoutId id="2147484119" r:id="rId33"/>
    <p:sldLayoutId id="2147484120" r:id="rId34"/>
    <p:sldLayoutId id="2147484121" r:id="rId35"/>
    <p:sldLayoutId id="2147484122" r:id="rId36"/>
    <p:sldLayoutId id="2147484123" r:id="rId37"/>
    <p:sldLayoutId id="2147484124" r:id="rId38"/>
    <p:sldLayoutId id="2147484125" r:id="rId39"/>
    <p:sldLayoutId id="2147484126" r:id="rId40"/>
    <p:sldLayoutId id="2147484127" r:id="rId41"/>
    <p:sldLayoutId id="2147484128" r:id="rId42"/>
    <p:sldLayoutId id="2147484129" r:id="rId4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398463" indent="-169863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15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72" pos="2862">
          <p15:clr>
            <a:srgbClr val="FDE53C"/>
          </p15:clr>
        </p15:guide>
        <p15:guide id="73" orient="horz" pos="3720">
          <p15:clr>
            <a:srgbClr val="F26B43"/>
          </p15:clr>
        </p15:guide>
        <p15:guide id="74">
          <p15:clr>
            <a:srgbClr val="F26B43"/>
          </p15:clr>
        </p15:guide>
        <p15:guide id="75" pos="5580">
          <p15:clr>
            <a:srgbClr val="F26B43"/>
          </p15:clr>
        </p15:guide>
        <p15:guide id="76" pos="192">
          <p15:clr>
            <a:srgbClr val="F26B43"/>
          </p15:clr>
        </p15:guide>
        <p15:guide id="77" orient="horz" pos="4080">
          <p15:clr>
            <a:srgbClr val="F26B43"/>
          </p15:clr>
        </p15:guide>
        <p15:guide id="78" pos="234">
          <p15:clr>
            <a:srgbClr val="F26B43"/>
          </p15:clr>
        </p15:guide>
        <p15:guide id="79" orient="horz" pos="240">
          <p15:clr>
            <a:srgbClr val="F26B43"/>
          </p15:clr>
        </p15:guide>
        <p15:guide id="80" orient="horz" pos="360">
          <p15:clr>
            <a:srgbClr val="F26B43"/>
          </p15:clr>
        </p15:guide>
        <p15:guide id="81" orient="horz" pos="696">
          <p15:clr>
            <a:srgbClr val="F26B43"/>
          </p15:clr>
        </p15:guide>
        <p15:guide id="82" orient="horz" pos="2472">
          <p15:clr>
            <a:srgbClr val="F26B43"/>
          </p15:clr>
        </p15:guide>
        <p15:guide id="83" orient="horz" pos="4224">
          <p15:clr>
            <a:srgbClr val="F26B43"/>
          </p15:clr>
        </p15:guide>
        <p15:guide id="84" pos="5544">
          <p15:clr>
            <a:srgbClr val="F26B43"/>
          </p15:clr>
        </p15:guide>
        <p15:guide id="85" pos="2898">
          <p15:clr>
            <a:srgbClr val="FDE53C"/>
          </p15:clr>
        </p15:guide>
        <p15:guide id="86" pos="2016">
          <p15:clr>
            <a:srgbClr val="F26B43"/>
          </p15:clr>
        </p15:guide>
        <p15:guide id="87" pos="3744">
          <p15:clr>
            <a:srgbClr val="F26B43"/>
          </p15:clr>
        </p15:guide>
        <p15:guide id="88" pos="1980">
          <p15:clr>
            <a:srgbClr val="F26B43"/>
          </p15:clr>
        </p15:guide>
        <p15:guide id="89" pos="3780">
          <p15:clr>
            <a:srgbClr val="F26B43"/>
          </p15:clr>
        </p15:guide>
        <p15:guide id="90" orient="horz" pos="2424">
          <p15:clr>
            <a:srgbClr val="F26B43"/>
          </p15:clr>
        </p15:guide>
        <p15:guide id="91" orient="horz" pos="115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8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4" y="960457"/>
            <a:ext cx="8228013" cy="521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80188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sz="800"/>
            </a:lvl1pPr>
          </a:lstStyle>
          <a:p>
            <a:fld id="{B3B10EFC-FFE3-4EB1-8BF8-B2D8BEAF155E}" type="slidenum">
              <a:rPr lang="en-US" smtClean="0">
                <a:solidFill>
                  <a:srgbClr val="63666A"/>
                </a:solidFill>
                <a:latin typeface="Arial" pitchFamily="34" charset="0"/>
              </a:rPr>
              <a:pPr/>
              <a:t>‹#›</a:t>
            </a:fld>
            <a:endParaRPr lang="en-US" dirty="0">
              <a:solidFill>
                <a:srgbClr val="63666A"/>
              </a:solidFill>
              <a:latin typeface="Arial" pitchFamily="3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227" tIns="45614" rIns="91227" bIns="45614" anchor="ctr"/>
          <a:lstStyle/>
          <a:p>
            <a:pPr>
              <a:lnSpc>
                <a:spcPct val="95000"/>
              </a:lnSpc>
              <a:spcAft>
                <a:spcPct val="35000"/>
              </a:spcAft>
              <a:buClr>
                <a:srgbClr val="D45D00"/>
              </a:buClr>
              <a:buFontTx/>
              <a:buChar char="•"/>
            </a:pPr>
            <a:endParaRPr lang="en-US" sz="2000" dirty="0">
              <a:solidFill>
                <a:srgbClr val="63666A"/>
              </a:solidFill>
              <a:latin typeface="Arial" pitchFamily="34" charset="0"/>
            </a:endParaRP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6459191" y="6580188"/>
            <a:ext cx="184185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en-US" sz="700" dirty="0">
                <a:solidFill>
                  <a:srgbClr val="63666A"/>
                </a:solidFill>
                <a:latin typeface="Arial" pitchFamily="34" charset="0"/>
              </a:rPr>
              <a:t>Proprietary and Confidential. Do not distribute.</a:t>
            </a:r>
          </a:p>
        </p:txBody>
      </p:sp>
      <p:pic>
        <p:nvPicPr>
          <p:cNvPr id="1073" name="Picture 16" descr="Optum_RGB_PPT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" y="6278563"/>
            <a:ext cx="1189038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4" name="Picture 12" descr="Optum_ColorBand-02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4313" y="6475433"/>
            <a:ext cx="7200900" cy="4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663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ransition>
    <p:fade/>
  </p:transition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6135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2264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68397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4527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67882" indent="-167882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08394" indent="-226489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793480" indent="-17105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137164" indent="-229649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417494" indent="-16630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1873631" indent="-16630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329759" indent="-16630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785891" indent="-16630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242024" indent="-16630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35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64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97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27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60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791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925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055" algn="l" defTabSz="912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Optum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6151575"/>
            <a:ext cx="16081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5618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4" y="990600"/>
            <a:ext cx="8228013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7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 eaLnBrk="0" hangingPunct="0">
              <a:defRPr/>
            </a:pPr>
            <a:fld id="{8B23763D-08E3-4687-8ED5-83BE9B0196F9}" type="slidenum">
              <a:rPr lang="en-US">
                <a:solidFill>
                  <a:srgbClr val="63666A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11" tIns="45657" rIns="91311" bIns="45657" anchor="ctr"/>
          <a:lstStyle/>
          <a:p>
            <a:pPr algn="ctr" eaLnBrk="0" hangingPunct="0">
              <a:lnSpc>
                <a:spcPct val="95000"/>
              </a:lnSpc>
            </a:pPr>
            <a:endParaRPr lang="en-US" sz="2000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3079" name="Picture 7" descr="Optum_ColorBand-02"/>
          <p:cNvPicPr preferRelativeResize="0"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5500" y="6429387"/>
            <a:ext cx="6591300" cy="4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736" name="Text Box 8"/>
          <p:cNvSpPr txBox="1">
            <a:spLocks noChangeArrowheads="1"/>
          </p:cNvSpPr>
          <p:nvPr/>
        </p:nvSpPr>
        <p:spPr bwMode="auto">
          <a:xfrm>
            <a:off x="2117737" y="6553212"/>
            <a:ext cx="1616075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0" hangingPunct="0">
              <a:defRPr/>
            </a:pPr>
            <a:endParaRPr lang="en-US" sz="700" dirty="0">
              <a:solidFill>
                <a:srgbClr val="63666A"/>
              </a:solidFill>
            </a:endParaRPr>
          </a:p>
        </p:txBody>
      </p:sp>
      <p:sp>
        <p:nvSpPr>
          <p:cNvPr id="73737" name="Text Box 9"/>
          <p:cNvSpPr txBox="1">
            <a:spLocks noChangeArrowheads="1"/>
          </p:cNvSpPr>
          <p:nvPr/>
        </p:nvSpPr>
        <p:spPr bwMode="auto">
          <a:xfrm>
            <a:off x="6477000" y="65532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0" hangingPunct="0">
              <a:defRPr/>
            </a:pPr>
            <a:r>
              <a:rPr lang="en-US" sz="700" dirty="0">
                <a:solidFill>
                  <a:srgbClr val="63666A"/>
                </a:solidFill>
              </a:rPr>
              <a:t>Propriet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988074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MS PGothic" pitchFamily="34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MS PGothic" pitchFamily="34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MS PGothic" pitchFamily="34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MS PGothic" pitchFamily="34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MS PGothic" pitchFamily="34" charset="-128"/>
          <a:cs typeface="ＭＳ Ｐゴシック" charset="-128"/>
        </a:defRPr>
      </a:lvl5pPr>
      <a:lvl6pPr marL="45656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6pPr>
      <a:lvl7pPr marL="913117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7pPr>
      <a:lvl8pPr marL="1369677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8pPr>
      <a:lvl9pPr marL="1826235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419" indent="-342419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152186" indent="-15060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102" indent="-177551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640451" indent="-17121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925800" indent="-17121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1382359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38918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5477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2035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0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17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77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235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796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352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913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470" algn="l" defTabSz="4565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Optum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6151575"/>
            <a:ext cx="16081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5618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990600"/>
            <a:ext cx="8229600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eaLnBrk="0" hangingPunct="0">
              <a:defRPr/>
            </a:pPr>
            <a:fld id="{D282C463-34EB-4E24-835B-9F91485795DF}" type="slidenum">
              <a:rPr lang="en-US">
                <a:solidFill>
                  <a:srgbClr val="63666A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2054" name="Line 6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11" tIns="45657" rIns="91311" bIns="45657" anchor="ctr"/>
          <a:lstStyle/>
          <a:p>
            <a:pPr algn="ctr" eaLnBrk="0" hangingPunct="0">
              <a:lnSpc>
                <a:spcPct val="95000"/>
              </a:lnSpc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2055" name="Picture 7" descr="Optum_ColorBand-02"/>
          <p:cNvPicPr preferRelativeResize="0"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5500" y="6429387"/>
            <a:ext cx="6591300" cy="4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 Box 8"/>
          <p:cNvSpPr txBox="1">
            <a:spLocks noChangeArrowheads="1"/>
          </p:cNvSpPr>
          <p:nvPr/>
        </p:nvSpPr>
        <p:spPr bwMode="auto">
          <a:xfrm>
            <a:off x="2117737" y="6553212"/>
            <a:ext cx="1616075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0" hangingPunct="0">
              <a:defRPr/>
            </a:pPr>
            <a:endParaRPr lang="en-US" sz="700" dirty="0">
              <a:solidFill>
                <a:srgbClr val="63666A"/>
              </a:solidFill>
            </a:endParaRPr>
          </a:p>
        </p:txBody>
      </p:sp>
      <p:sp>
        <p:nvSpPr>
          <p:cNvPr id="2057" name="Text Box 9"/>
          <p:cNvSpPr txBox="1">
            <a:spLocks noChangeArrowheads="1"/>
          </p:cNvSpPr>
          <p:nvPr/>
        </p:nvSpPr>
        <p:spPr bwMode="auto">
          <a:xfrm>
            <a:off x="6477000" y="6553200"/>
            <a:ext cx="1905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0" hangingPunct="0">
              <a:defRPr/>
            </a:pPr>
            <a:r>
              <a:rPr lang="en-US" sz="700" dirty="0">
                <a:solidFill>
                  <a:srgbClr val="63666A"/>
                </a:solidFill>
              </a:rPr>
              <a:t>Propriet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41602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656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3117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69677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6235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42419" indent="-342419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52186" indent="-15060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102" indent="-177551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640451" indent="-17121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925800" indent="-17121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82359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38918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5477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2035" indent="-17121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0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17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77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235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796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352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913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470" algn="l" defTabSz="9131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6" descr="Optum_RGB_PPT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6151564"/>
            <a:ext cx="1608139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4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0601"/>
            <a:ext cx="8228013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 b="0">
                <a:solidFill>
                  <a:schemeClr val="tx1"/>
                </a:solidFill>
              </a:defRPr>
            </a:lvl1pPr>
          </a:lstStyle>
          <a:p>
            <a:pPr eaLnBrk="0" hangingPunct="0">
              <a:defRPr/>
            </a:pPr>
            <a:fld id="{C7E3449D-F455-4202-B514-0082FF6FD262}" type="slidenum">
              <a:rPr lang="en-US">
                <a:solidFill>
                  <a:srgbClr val="63666A"/>
                </a:solidFill>
                <a:latin typeface="Arial" pitchFamily="34" charset="0"/>
                <a:ea typeface="Geneva" charset="-128"/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63666A"/>
              </a:solidFill>
              <a:latin typeface="Arial" pitchFamily="34" charset="0"/>
              <a:ea typeface="Geneva" charset="-128"/>
            </a:endParaRPr>
          </a:p>
        </p:txBody>
      </p:sp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5000"/>
              </a:lnSpc>
            </a:pPr>
            <a:endParaRPr lang="en-US" sz="1400" b="1" dirty="0">
              <a:solidFill>
                <a:srgbClr val="FFFFFF"/>
              </a:solidFill>
              <a:latin typeface="Arial" pitchFamily="34" charset="0"/>
              <a:ea typeface="Geneva" charset="-128"/>
            </a:endParaRPr>
          </a:p>
        </p:txBody>
      </p:sp>
      <p:pic>
        <p:nvPicPr>
          <p:cNvPr id="1031" name="Picture 12" descr="Optum_ColorBand-02"/>
          <p:cNvPicPr preferRelativeResize="0"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5501" y="6429376"/>
            <a:ext cx="6591300" cy="4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14"/>
          <p:cNvSpPr txBox="1">
            <a:spLocks noChangeArrowheads="1"/>
          </p:cNvSpPr>
          <p:nvPr/>
        </p:nvSpPr>
        <p:spPr bwMode="auto">
          <a:xfrm>
            <a:off x="6477000" y="6553200"/>
            <a:ext cx="1905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1400" b="1">
                <a:solidFill>
                  <a:schemeClr val="bg1"/>
                </a:solidFill>
                <a:latin typeface="Arial" charset="0"/>
                <a:ea typeface="Geneva" charset="0"/>
                <a:cs typeface="Arial Unicode MS" charset="0"/>
              </a:defRPr>
            </a:lvl1pPr>
            <a:lvl2pPr marL="742950" indent="-28575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2pPr>
            <a:lvl3pPr marL="11430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3pPr>
            <a:lvl4pPr marL="16002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4pPr>
            <a:lvl5pPr marL="20574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5pPr>
            <a:lvl6pPr marL="25146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6pPr>
            <a:lvl7pPr marL="29718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7pPr>
            <a:lvl8pPr marL="34290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8pPr>
            <a:lvl9pPr marL="38862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9pPr>
          </a:lstStyle>
          <a:p>
            <a:pPr eaLnBrk="0" hangingPunct="0">
              <a:defRPr/>
            </a:pPr>
            <a:r>
              <a:rPr lang="en-US" sz="700" b="0" dirty="0">
                <a:solidFill>
                  <a:srgbClr val="63666A"/>
                </a:solidFill>
              </a:rPr>
              <a:t>Propriet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18675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Geneva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Geneva" charset="0"/>
          <a:cs typeface="+mn-cs"/>
        </a:defRPr>
      </a:lvl1pPr>
      <a:lvl2pPr marL="152400" indent="-15081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64135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9271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843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415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87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59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6" descr="Optum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6151563"/>
            <a:ext cx="16081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0600"/>
            <a:ext cx="8228013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hangingPunct="0">
              <a:defRPr/>
            </a:pPr>
            <a:fld id="{E061B01E-B7C0-41B6-B413-2C4C983FC001}" type="slidenum">
              <a:rPr lang="en-US">
                <a:solidFill>
                  <a:srgbClr val="63666A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5000"/>
              </a:lnSpc>
            </a:pPr>
            <a:endParaRPr lang="en-US" sz="1400" b="1" dirty="0">
              <a:solidFill>
                <a:srgbClr val="FFFFFF"/>
              </a:solidFill>
            </a:endParaRPr>
          </a:p>
        </p:txBody>
      </p:sp>
      <p:pic>
        <p:nvPicPr>
          <p:cNvPr id="1031" name="Picture 12" descr="Optum_ColorBand-02"/>
          <p:cNvPicPr preferRelativeResize="0"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5500" y="6429375"/>
            <a:ext cx="6591300" cy="4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696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52400" indent="-15081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64135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9271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843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415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87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59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60438"/>
            <a:ext cx="8228013" cy="521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80188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sz="800" b="1"/>
            </a:lvl1pPr>
          </a:lstStyle>
          <a:p>
            <a:fld id="{E369913A-917D-43D7-BE08-3DDDA938A8E2}" type="slidenum">
              <a:rPr lang="en-US" smtClean="0">
                <a:solidFill>
                  <a:srgbClr val="63666A"/>
                </a:solidFill>
                <a:latin typeface="Arial"/>
              </a:rPr>
              <a:pPr/>
              <a:t>‹#›</a:t>
            </a:fld>
            <a:endParaRPr lang="en-US" dirty="0">
              <a:solidFill>
                <a:srgbClr val="63666A"/>
              </a:solidFill>
              <a:latin typeface="Arial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lnSpc>
                <a:spcPct val="95000"/>
              </a:lnSpc>
              <a:spcAft>
                <a:spcPct val="35000"/>
              </a:spcAft>
              <a:buClr>
                <a:srgbClr val="D45D00"/>
              </a:buClr>
              <a:buFontTx/>
              <a:buChar char="•"/>
            </a:pPr>
            <a:endParaRPr lang="en-US" sz="2000" dirty="0">
              <a:solidFill>
                <a:srgbClr val="63666A"/>
              </a:solidFill>
              <a:latin typeface="Arial"/>
            </a:endParaRP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6477000" y="6580188"/>
            <a:ext cx="1824038" cy="10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en-US" sz="700" dirty="0">
                <a:solidFill>
                  <a:srgbClr val="63666A"/>
                </a:solidFill>
                <a:latin typeface="Arial"/>
              </a:rPr>
              <a:t>Proprietary and Confidential. Do not distribute.</a:t>
            </a:r>
          </a:p>
        </p:txBody>
      </p:sp>
      <p:pic>
        <p:nvPicPr>
          <p:cNvPr id="1073" name="Picture 16" descr="Optum_RGB_PPT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" y="6278563"/>
            <a:ext cx="1189038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4" name="Picture 12" descr="Optum_ColorBand-02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4313" y="6475413"/>
            <a:ext cx="7200900" cy="4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8684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</p:sldLayoutIdLst>
  <p:transition>
    <p:fade/>
  </p:transition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68275" indent="-168275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227013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795338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139825" indent="-2301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tx1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420813" indent="-1666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1878013" indent="-1666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666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792413" indent="-1666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249613" indent="-166688" algn="l" rtl="0" fontAlgn="base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5000"/>
              </a:lnSpc>
              <a:defRPr/>
            </a:pPr>
            <a:endParaRPr lang="en-US" sz="14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52400"/>
            <a:ext cx="8226425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0600"/>
            <a:ext cx="8228013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sz="800" b="0">
                <a:solidFill>
                  <a:srgbClr val="63666A"/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849A09B-0910-47DC-9481-413FEC113A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4238625" y="6580188"/>
            <a:ext cx="40624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defRPr/>
            </a:pPr>
            <a:r>
              <a:rPr lang="en-US" sz="700" dirty="0">
                <a:solidFill>
                  <a:srgbClr val="63666A"/>
                </a:solidFill>
                <a:latin typeface="Arial"/>
              </a:rPr>
              <a:t>Confidential property of Optum. Do not distribute or reproduce without express permission from Optum.</a:t>
            </a:r>
          </a:p>
        </p:txBody>
      </p:sp>
      <p:pic>
        <p:nvPicPr>
          <p:cNvPr id="1031" name="Picture 16" descr="Optum_RGB_PPT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52400" y="6278563"/>
            <a:ext cx="118903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12" descr="Optum_ColorBand-02"/>
          <p:cNvPicPr preferRelativeResize="0"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00"/>
          <a:stretch>
            <a:fillRect/>
          </a:stretch>
        </p:blipFill>
        <p:spPr bwMode="auto">
          <a:xfrm>
            <a:off x="1484313" y="6475413"/>
            <a:ext cx="7200900" cy="4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37331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656" r:id="rId11"/>
    <p:sldLayoutId id="2147483655" r:id="rId12"/>
    <p:sldLayoutId id="2147483654" r:id="rId13"/>
    <p:sldLayoutId id="2147483660" r:id="rId14"/>
    <p:sldLayoutId id="2147483661" r:id="rId15"/>
    <p:sldLayoutId id="2147483662" r:id="rId16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52400" indent="-15081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64135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9271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843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415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87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59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6" descr="Optum_RGB_PP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6151563"/>
            <a:ext cx="16081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52400"/>
            <a:ext cx="8226425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0600"/>
            <a:ext cx="8228013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43675"/>
            <a:ext cx="304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800" b="0">
                <a:solidFill>
                  <a:schemeClr val="tx1"/>
                </a:solidFill>
              </a:defRPr>
            </a:lvl1pPr>
          </a:lstStyle>
          <a:p>
            <a:pPr eaLnBrk="0" hangingPunct="0">
              <a:defRPr/>
            </a:pPr>
            <a:fld id="{2B1BA1BF-E8DF-4AC0-A7AD-DBC59F6CB5EC}" type="slidenum">
              <a:rPr lang="en-US">
                <a:solidFill>
                  <a:srgbClr val="63666A"/>
                </a:solidFill>
                <a:latin typeface="Arial" pitchFamily="34" charset="0"/>
                <a:ea typeface="ＭＳ Ｐゴシック"/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63666A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457200" y="838200"/>
            <a:ext cx="82296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5000"/>
              </a:lnSpc>
            </a:pPr>
            <a:endParaRPr lang="en-US" sz="1400" b="1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pic>
        <p:nvPicPr>
          <p:cNvPr id="1031" name="Picture 12" descr="Optum_ColorBand-02"/>
          <p:cNvPicPr preferRelativeResize="0"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5500" y="6429375"/>
            <a:ext cx="6591300" cy="4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14"/>
          <p:cNvSpPr txBox="1">
            <a:spLocks noChangeArrowheads="1"/>
          </p:cNvSpPr>
          <p:nvPr/>
        </p:nvSpPr>
        <p:spPr bwMode="auto">
          <a:xfrm>
            <a:off x="6477000" y="6553200"/>
            <a:ext cx="1905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1400" b="1">
                <a:solidFill>
                  <a:schemeClr val="bg1"/>
                </a:solidFill>
                <a:latin typeface="Arial" charset="0"/>
                <a:ea typeface="Geneva" charset="0"/>
                <a:cs typeface="Arial Unicode MS" charset="0"/>
              </a:defRPr>
            </a:lvl1pPr>
            <a:lvl2pPr marL="742950" indent="-28575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2pPr>
            <a:lvl3pPr marL="11430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3pPr>
            <a:lvl4pPr marL="16002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4pPr>
            <a:lvl5pPr marL="2057400" indent="-228600"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5pPr>
            <a:lvl6pPr marL="25146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6pPr>
            <a:lvl7pPr marL="29718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7pPr>
            <a:lvl8pPr marL="34290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8pPr>
            <a:lvl9pPr marL="3886200" indent="-228600"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charset="0"/>
                <a:ea typeface="Arial Unicode MS" charset="0"/>
                <a:cs typeface="Arial Unicode MS" charset="0"/>
              </a:defRPr>
            </a:lvl9pPr>
          </a:lstStyle>
          <a:p>
            <a:pPr eaLnBrk="0" hangingPunct="0">
              <a:defRPr/>
            </a:pPr>
            <a:r>
              <a:rPr lang="en-US" sz="700" b="0" dirty="0">
                <a:solidFill>
                  <a:srgbClr val="63666A"/>
                </a:solidFill>
              </a:rPr>
              <a:t>Propriet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209969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Geneva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Geneva" charset="0"/>
          <a:cs typeface="Arial Unicode MS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ea typeface="Arial Unicode MS" charset="0"/>
          <a:cs typeface="Arial Unicode MS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defRPr sz="1400">
          <a:solidFill>
            <a:schemeClr val="tx1"/>
          </a:solidFill>
          <a:latin typeface="+mn-lt"/>
          <a:ea typeface="Geneva" charset="0"/>
          <a:cs typeface="+mn-cs"/>
        </a:defRPr>
      </a:lvl1pPr>
      <a:lvl2pPr marL="152400" indent="-150813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lr>
          <a:schemeClr val="accent1"/>
        </a:buClr>
        <a:buSzPct val="90000"/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64135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927100" indent="-171450" algn="l" rtl="0" eaLnBrk="0" fontAlgn="base" hangingPunct="0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843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415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987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55900" indent="-171450" algn="l" rtl="0" fontAlgn="base">
        <a:lnSpc>
          <a:spcPct val="95000"/>
        </a:lnSpc>
        <a:spcBef>
          <a:spcPct val="0"/>
        </a:spcBef>
        <a:spcAft>
          <a:spcPct val="3500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52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52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52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52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173.xml"/><Relationship Id="rId7" Type="http://schemas.openxmlformats.org/officeDocument/2006/relationships/image" Target="../media/image52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77.xml"/><Relationship Id="rId7" Type="http://schemas.openxmlformats.org/officeDocument/2006/relationships/oleObject" Target="../embeddings/oleObject3.bin"/><Relationship Id="rId2" Type="http://schemas.openxmlformats.org/officeDocument/2006/relationships/tags" Target="../tags/tag17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7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79.xml"/><Relationship Id="rId7" Type="http://schemas.openxmlformats.org/officeDocument/2006/relationships/oleObject" Target="../embeddings/oleObject3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8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8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9.pn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151.xml"/><Relationship Id="rId7" Type="http://schemas.openxmlformats.org/officeDocument/2006/relationships/image" Target="../media/image52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0.xml"/><Relationship Id="rId9" Type="http://schemas.openxmlformats.org/officeDocument/2006/relationships/image" Target="../media/image5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8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0.png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8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1.pn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2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3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64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65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app29-02.optum.com/sites/optumcareenterprisetech/Shared%20Documents/Movere/Movere%20Analysis%20-%20031520/Movere%20analysis%20-%20031520.twb" TargetMode="External"/><Relationship Id="rId3" Type="http://schemas.openxmlformats.org/officeDocument/2006/relationships/tags" Target="../tags/tag195.xml"/><Relationship Id="rId7" Type="http://schemas.openxmlformats.org/officeDocument/2006/relationships/hyperlink" Target="http://app29-02.optum.com/sites/optumcareenterprisetech/Shared%20Documents/Movere/Movere%20Analysis%20-%20031520/Movere%20tracking.xlsx" TargetMode="External"/><Relationship Id="rId2" Type="http://schemas.openxmlformats.org/officeDocument/2006/relationships/tags" Target="../tags/tag19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Relationship Id="rId9" Type="http://schemas.openxmlformats.org/officeDocument/2006/relationships/hyperlink" Target="http://app29-02.optum.com/sites/optumcareenterprisetech/Shared%20Documents/Forms/AllItems.aspx?RootFolder=%2Fsites%2Foptumcareenterprisetech%2FShared%20Documents%2FMovere%2FMovere%20Extracts&amp;FolderCTID=0x01200079ED4AB85CF4ED429D444594A8C23119&amp;View=%7BBB1CFFD9%2D33C4%2D4B9D%2D85AD%2D7DF318A00744%7D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197.xml"/><Relationship Id="rId7" Type="http://schemas.openxmlformats.org/officeDocument/2006/relationships/image" Target="../media/image66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52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52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52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52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7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sz="3000" u="none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sz="3000" dirty="0"/>
            </a:br>
            <a:r>
              <a:rPr lang="en-US" sz="3000" dirty="0" err="1"/>
              <a:t>OptumCare</a:t>
            </a:r>
            <a:r>
              <a:rPr lang="en-US" sz="3000" dirty="0"/>
              <a:t> CDO Infrastructure Cloud-Readiness Inventory Analysi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b="1" dirty="0"/>
          </a:p>
          <a:p>
            <a:r>
              <a:rPr lang="en-US" b="1" dirty="0"/>
              <a:t>Data Captured 11/26/19-3/6/20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1476" y="4898572"/>
            <a:ext cx="5580008" cy="79465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arch 15, 2020</a:t>
            </a:r>
          </a:p>
        </p:txBody>
      </p:sp>
    </p:spTree>
    <p:extLst>
      <p:ext uri="{BB962C8B-B14F-4D97-AF65-F5344CB8AC3E}">
        <p14:creationId xmlns:p14="http://schemas.microsoft.com/office/powerpoint/2010/main" val="2931789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Physical Servers – AL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2F62DF3-AA5B-6847-B7F8-5031B01D1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989496"/>
              </p:ext>
            </p:extLst>
          </p:nvPr>
        </p:nvGraphicFramePr>
        <p:xfrm>
          <a:off x="371475" y="1180041"/>
          <a:ext cx="8486774" cy="3443363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904446747"/>
                    </a:ext>
                  </a:extLst>
                </a:gridCol>
                <a:gridCol w="754706">
                  <a:extLst>
                    <a:ext uri="{9D8B030D-6E8A-4147-A177-3AD203B41FA5}">
                      <a16:colId xmlns:a16="http://schemas.microsoft.com/office/drawing/2014/main" val="467969744"/>
                    </a:ext>
                  </a:extLst>
                </a:gridCol>
                <a:gridCol w="1070341">
                  <a:extLst>
                    <a:ext uri="{9D8B030D-6E8A-4147-A177-3AD203B41FA5}">
                      <a16:colId xmlns:a16="http://schemas.microsoft.com/office/drawing/2014/main" val="3628005284"/>
                    </a:ext>
                  </a:extLst>
                </a:gridCol>
                <a:gridCol w="1156466">
                  <a:extLst>
                    <a:ext uri="{9D8B030D-6E8A-4147-A177-3AD203B41FA5}">
                      <a16:colId xmlns:a16="http://schemas.microsoft.com/office/drawing/2014/main" val="826381628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3162128436"/>
                    </a:ext>
                  </a:extLst>
                </a:gridCol>
                <a:gridCol w="1111292">
                  <a:extLst>
                    <a:ext uri="{9D8B030D-6E8A-4147-A177-3AD203B41FA5}">
                      <a16:colId xmlns:a16="http://schemas.microsoft.com/office/drawing/2014/main" val="884123861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4070711741"/>
                    </a:ext>
                  </a:extLst>
                </a:gridCol>
                <a:gridCol w="1023955">
                  <a:extLst>
                    <a:ext uri="{9D8B030D-6E8A-4147-A177-3AD203B41FA5}">
                      <a16:colId xmlns:a16="http://schemas.microsoft.com/office/drawing/2014/main" val="945321203"/>
                    </a:ext>
                  </a:extLst>
                </a:gridCol>
              </a:tblGrid>
              <a:tr h="7651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overe Estimated Rate per Hour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Rate per Hour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3 Year Total*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295222342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7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6.1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32.0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03,818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88,368.8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,937,473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981,278.3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64689489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0.6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9.6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3,452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4,652.0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644,293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407,474.3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244648869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1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53.8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89.9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23,288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95,692.9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,438,389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8,644,946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644648745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7.6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51.4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5,913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0,539.9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092,893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979,438.8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472678960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6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5.3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1.9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0,405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2,517.0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454,59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890,612.4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793962465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1.37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548636233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6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.2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96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32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,870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,784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969312261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0.4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8.4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4,128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7,263.8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588,62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61,498.1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953948811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.2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.1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,884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152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27,838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1,493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046230283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9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08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902.8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5,491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8,501.7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451350931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.5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255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600.8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5,201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3,632.0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322175560"/>
                  </a:ext>
                </a:extLst>
              </a:tr>
              <a:tr h="218627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.2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.0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03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,849.2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6,91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0,571.4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319879009"/>
                  </a:ext>
                </a:extLst>
              </a:tr>
              <a:tr h="20496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24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28.9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93.3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89,155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528,173.1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2,809,594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55,014,232.86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7684259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478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All Server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1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3BBA55-497C-4A4E-8659-E2B598DF69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33031"/>
              </p:ext>
            </p:extLst>
          </p:nvPr>
        </p:nvGraphicFramePr>
        <p:xfrm>
          <a:off x="368755" y="1172633"/>
          <a:ext cx="8486774" cy="3450764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2628921993"/>
                    </a:ext>
                  </a:extLst>
                </a:gridCol>
                <a:gridCol w="664293">
                  <a:extLst>
                    <a:ext uri="{9D8B030D-6E8A-4147-A177-3AD203B41FA5}">
                      <a16:colId xmlns:a16="http://schemas.microsoft.com/office/drawing/2014/main" val="3823442709"/>
                    </a:ext>
                  </a:extLst>
                </a:gridCol>
                <a:gridCol w="1160754">
                  <a:extLst>
                    <a:ext uri="{9D8B030D-6E8A-4147-A177-3AD203B41FA5}">
                      <a16:colId xmlns:a16="http://schemas.microsoft.com/office/drawing/2014/main" val="2328905940"/>
                    </a:ext>
                  </a:extLst>
                </a:gridCol>
                <a:gridCol w="1156466">
                  <a:extLst>
                    <a:ext uri="{9D8B030D-6E8A-4147-A177-3AD203B41FA5}">
                      <a16:colId xmlns:a16="http://schemas.microsoft.com/office/drawing/2014/main" val="1805487326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595318185"/>
                    </a:ext>
                  </a:extLst>
                </a:gridCol>
                <a:gridCol w="1111292">
                  <a:extLst>
                    <a:ext uri="{9D8B030D-6E8A-4147-A177-3AD203B41FA5}">
                      <a16:colId xmlns:a16="http://schemas.microsoft.com/office/drawing/2014/main" val="3911175313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2138600907"/>
                    </a:ext>
                  </a:extLst>
                </a:gridCol>
                <a:gridCol w="1023955">
                  <a:extLst>
                    <a:ext uri="{9D8B030D-6E8A-4147-A177-3AD203B41FA5}">
                      <a16:colId xmlns:a16="http://schemas.microsoft.com/office/drawing/2014/main" val="3060602320"/>
                    </a:ext>
                  </a:extLst>
                </a:gridCol>
              </a:tblGrid>
              <a:tr h="6089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Movere</a:t>
                      </a:r>
                      <a:r>
                        <a:rPr lang="en-US" sz="1000" u="none" strike="noStrike" dirty="0">
                          <a:effectLst/>
                        </a:rPr>
                        <a:t> Estimated Rate per Hour</a:t>
                      </a:r>
                      <a:endParaRPr lang="en-US" sz="10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Rate per Hour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3 Year Total*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09215684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7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37.4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96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84,345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73,540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4,636,44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1,447,472.2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004784039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39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11.7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53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73,548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77,274.0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447,73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,181,866.9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4521971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6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44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333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62,784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73,549.9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7,460,234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5,047,799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98058063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9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8.2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92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6,629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3,453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,998,672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,684,307.8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6223498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5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5.2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6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6,061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6,228.6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18,221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904,232.0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086672663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6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6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8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7,28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7,783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62,10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960,188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031896139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5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5.6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0.5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2,524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0,718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250,88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905,874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129443917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07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5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1.5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1,68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7,902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300,76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244,479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066180247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4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2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9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7,700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7,317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437,207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143,439.1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660931223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7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4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.3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2,631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2,604.5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74,71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533,762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185872850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9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.5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8.8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5,753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,085.5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67,122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59,081.0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267985251"/>
                  </a:ext>
                </a:extLst>
              </a:tr>
              <a:tr h="2319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7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0,264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6,837.6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29,532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66,154.3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148772684"/>
                  </a:ext>
                </a:extLst>
              </a:tr>
              <a:tr h="21748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03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412.6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367.5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491,212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188,296.0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9,683,653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114,778,658.34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2424466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8586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2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Movere</a:t>
            </a:r>
            <a:r>
              <a:rPr lang="en-US" sz="2400" dirty="0"/>
              <a:t> Financial Estimate by CDO</a:t>
            </a:r>
            <a:br>
              <a:rPr lang="en-US" sz="2400" dirty="0"/>
            </a:br>
            <a:r>
              <a:rPr lang="en-US" sz="2400" dirty="0"/>
              <a:t>Contract Comparison – No Adjustment</a:t>
            </a:r>
            <a:br>
              <a:rPr lang="en-US" sz="2400" dirty="0"/>
            </a:br>
            <a:r>
              <a:rPr lang="en-US" sz="1800" dirty="0"/>
              <a:t>ARC Sized Servers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2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9FBE8AF-55A6-0D4A-B64B-EF9F48ECF1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815878"/>
              </p:ext>
            </p:extLst>
          </p:nvPr>
        </p:nvGraphicFramePr>
        <p:xfrm>
          <a:off x="371475" y="1155171"/>
          <a:ext cx="8484055" cy="5105812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112715">
                  <a:extLst>
                    <a:ext uri="{9D8B030D-6E8A-4147-A177-3AD203B41FA5}">
                      <a16:colId xmlns:a16="http://schemas.microsoft.com/office/drawing/2014/main" val="2681805926"/>
                    </a:ext>
                  </a:extLst>
                </a:gridCol>
                <a:gridCol w="888301">
                  <a:extLst>
                    <a:ext uri="{9D8B030D-6E8A-4147-A177-3AD203B41FA5}">
                      <a16:colId xmlns:a16="http://schemas.microsoft.com/office/drawing/2014/main" val="1641371946"/>
                    </a:ext>
                  </a:extLst>
                </a:gridCol>
                <a:gridCol w="1000507">
                  <a:extLst>
                    <a:ext uri="{9D8B030D-6E8A-4147-A177-3AD203B41FA5}">
                      <a16:colId xmlns:a16="http://schemas.microsoft.com/office/drawing/2014/main" val="2490648795"/>
                    </a:ext>
                  </a:extLst>
                </a:gridCol>
                <a:gridCol w="1598942">
                  <a:extLst>
                    <a:ext uri="{9D8B030D-6E8A-4147-A177-3AD203B41FA5}">
                      <a16:colId xmlns:a16="http://schemas.microsoft.com/office/drawing/2014/main" val="1345493036"/>
                    </a:ext>
                  </a:extLst>
                </a:gridCol>
                <a:gridCol w="1545956">
                  <a:extLst>
                    <a:ext uri="{9D8B030D-6E8A-4147-A177-3AD203B41FA5}">
                      <a16:colId xmlns:a16="http://schemas.microsoft.com/office/drawing/2014/main" val="3260143637"/>
                    </a:ext>
                  </a:extLst>
                </a:gridCol>
                <a:gridCol w="1150116">
                  <a:extLst>
                    <a:ext uri="{9D8B030D-6E8A-4147-A177-3AD203B41FA5}">
                      <a16:colId xmlns:a16="http://schemas.microsoft.com/office/drawing/2014/main" val="926637266"/>
                    </a:ext>
                  </a:extLst>
                </a:gridCol>
                <a:gridCol w="1187518">
                  <a:extLst>
                    <a:ext uri="{9D8B030D-6E8A-4147-A177-3AD203B41FA5}">
                      <a16:colId xmlns:a16="http://schemas.microsoft.com/office/drawing/2014/main" val="277064712"/>
                    </a:ext>
                  </a:extLst>
                </a:gridCol>
              </a:tblGrid>
              <a:tr h="5466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latform (group)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DO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Device Count</a:t>
                      </a:r>
                      <a:endParaRPr lang="en-US" sz="8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 Year Total (Pay As You Go - No Contract)</a:t>
                      </a:r>
                      <a:endParaRPr lang="en-US" sz="9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 Year Total (1yr All Up Front Reserved)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 Year Total (3yr All Up Front Reserved)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Upfront Cost 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509158775"/>
                  </a:ext>
                </a:extLst>
              </a:tr>
              <a:tr h="180920">
                <a:tc rowSpan="10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Physical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u="none" strike="noStrike">
                          <a:effectLst/>
                        </a:rPr>
                        <a:t>AppleCare</a:t>
                      </a:r>
                      <a:endParaRPr lang="en-US" sz="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u="none" strike="noStrike">
                          <a:effectLst/>
                        </a:rPr>
                        <a:t>$25,071.12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u="none" strike="noStrike">
                          <a:effectLst/>
                        </a:rPr>
                        <a:t>$20,101.84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u="none" strike="noStrike">
                          <a:effectLst/>
                        </a:rPr>
                        <a:t>$17,188.70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u="none" strike="noStrike">
                          <a:effectLst/>
                        </a:rPr>
                        <a:t>$17,188.70</a:t>
                      </a:r>
                      <a:endParaRPr lang="en-US" sz="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201887731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DMG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5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517,518.8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,035,462.1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032,529.0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,266,151.7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507297993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Mountain West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63,926.7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115,156.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82,722.4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06,624.7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4283886975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PHCT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27,759.5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15,022.8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43,658.9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31,438.7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049659735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NY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404,705.4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17,003.0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58,641.7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30,600.9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509066959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olyClinic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4,270.04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2,617.8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1,833.8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949.8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216804117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Relian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75,572.08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25,134.7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94,826.5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46,497.6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551197943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SCA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65,327.4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77,416.6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37,600.8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26,109.9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1235851170"/>
                  </a:ext>
                </a:extLst>
              </a:tr>
              <a:tr h="1929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ellMe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219,798.0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579,873.1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31,822.4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045,707.4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639913969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u="none" strike="noStrike" dirty="0">
                          <a:effectLst/>
                        </a:rPr>
                        <a:t>Total</a:t>
                      </a:r>
                      <a:endParaRPr lang="en-US" sz="8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521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>
                          <a:effectLst/>
                        </a:rPr>
                        <a:t>$17,613,949.25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>
                          <a:effectLst/>
                        </a:rPr>
                        <a:t>$12,497,788.57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9,610,824.64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7,274,269.84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656350280"/>
                  </a:ext>
                </a:extLst>
              </a:tr>
              <a:tr h="180920">
                <a:tc rowSpan="14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Virtual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AppleCare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462,233.66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386,867.6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48,720.3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02,656.1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894366609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DMG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,65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2,662,844.5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0,454,794.75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,278,160.8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710,992.4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735515300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Monarch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6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878,594.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307,714.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001,502.9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693,889.0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993622648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Mountain Wes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,29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486,511.0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,793,764.7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,947,821.5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904,275.6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943135754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NAMM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076,489.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77,352.8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66,010.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14,637.4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1011575595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C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857,888.2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531,474.35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48,999.9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86,445.6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831134574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NY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4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616,078.0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48,690.3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199,016.8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10,834.9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064837666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olyClinic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4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079,864.9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770,419.7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611,631.77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85,699.3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40479170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Relian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492,923.4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206,574.9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,050,056.29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59,125.5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1806264931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SCA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5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045,377.6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777,439.6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643,885.23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54,412.3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012882773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USM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19,606.1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44,877.7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504,573.1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30,656.68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3885658247"/>
                  </a:ext>
                </a:extLst>
              </a:tr>
              <a:tr h="180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ellMe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7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35,312.4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81,635.6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02,015.6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450,301.24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212823815"/>
                  </a:ext>
                </a:extLst>
              </a:tr>
              <a:tr h="1929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Other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,648.8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960.8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682.0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,107.9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29729918"/>
                  </a:ext>
                </a:extLst>
              </a:tr>
              <a:tr h="1929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u="none" strike="noStrike" dirty="0">
                          <a:effectLst/>
                        </a:rPr>
                        <a:t>Total</a:t>
                      </a:r>
                      <a:endParaRPr lang="en-US" sz="8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5,715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40,120,372.51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33,687,567.54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30,308,076.87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17,006,034.39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2031632698"/>
                  </a:ext>
                </a:extLst>
              </a:tr>
              <a:tr h="180920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Grand Total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,236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7,734,321.76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6,185,356.11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9,918,901.51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4,280,304.23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08" marR="7108" marT="7108" marB="0" anchor="ctr"/>
                </a:tc>
                <a:extLst>
                  <a:ext uri="{0D108BD9-81ED-4DB2-BD59-A6C34878D82A}">
                    <a16:rowId xmlns:a16="http://schemas.microsoft.com/office/drawing/2014/main" val="9833111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8287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Movere</a:t>
            </a:r>
            <a:r>
              <a:rPr lang="en-US" sz="2400" dirty="0"/>
              <a:t> Financial Estimate by CDO</a:t>
            </a:r>
            <a:br>
              <a:rPr lang="en-US" sz="2400" dirty="0"/>
            </a:br>
            <a:r>
              <a:rPr lang="en-US" sz="2400" dirty="0"/>
              <a:t>Contract Comparison – No Adjustment</a:t>
            </a:r>
            <a:br>
              <a:rPr lang="en-US" sz="2400" dirty="0"/>
            </a:br>
            <a:r>
              <a:rPr lang="en-US" sz="1800" dirty="0"/>
              <a:t>ALL Servers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5644029-84E2-734C-9D87-FB26092DA2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102618"/>
              </p:ext>
            </p:extLst>
          </p:nvPr>
        </p:nvGraphicFramePr>
        <p:xfrm>
          <a:off x="371475" y="1141794"/>
          <a:ext cx="8484054" cy="5005100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112714">
                  <a:extLst>
                    <a:ext uri="{9D8B030D-6E8A-4147-A177-3AD203B41FA5}">
                      <a16:colId xmlns:a16="http://schemas.microsoft.com/office/drawing/2014/main" val="1123304625"/>
                    </a:ext>
                  </a:extLst>
                </a:gridCol>
                <a:gridCol w="888301">
                  <a:extLst>
                    <a:ext uri="{9D8B030D-6E8A-4147-A177-3AD203B41FA5}">
                      <a16:colId xmlns:a16="http://schemas.microsoft.com/office/drawing/2014/main" val="4142379971"/>
                    </a:ext>
                  </a:extLst>
                </a:gridCol>
                <a:gridCol w="1000507">
                  <a:extLst>
                    <a:ext uri="{9D8B030D-6E8A-4147-A177-3AD203B41FA5}">
                      <a16:colId xmlns:a16="http://schemas.microsoft.com/office/drawing/2014/main" val="2818545090"/>
                    </a:ext>
                  </a:extLst>
                </a:gridCol>
                <a:gridCol w="1598942">
                  <a:extLst>
                    <a:ext uri="{9D8B030D-6E8A-4147-A177-3AD203B41FA5}">
                      <a16:colId xmlns:a16="http://schemas.microsoft.com/office/drawing/2014/main" val="316736053"/>
                    </a:ext>
                  </a:extLst>
                </a:gridCol>
                <a:gridCol w="1545955">
                  <a:extLst>
                    <a:ext uri="{9D8B030D-6E8A-4147-A177-3AD203B41FA5}">
                      <a16:colId xmlns:a16="http://schemas.microsoft.com/office/drawing/2014/main" val="270627243"/>
                    </a:ext>
                  </a:extLst>
                </a:gridCol>
                <a:gridCol w="1150117">
                  <a:extLst>
                    <a:ext uri="{9D8B030D-6E8A-4147-A177-3AD203B41FA5}">
                      <a16:colId xmlns:a16="http://schemas.microsoft.com/office/drawing/2014/main" val="3121384218"/>
                    </a:ext>
                  </a:extLst>
                </a:gridCol>
                <a:gridCol w="1187518">
                  <a:extLst>
                    <a:ext uri="{9D8B030D-6E8A-4147-A177-3AD203B41FA5}">
                      <a16:colId xmlns:a16="http://schemas.microsoft.com/office/drawing/2014/main" val="982413914"/>
                    </a:ext>
                  </a:extLst>
                </a:gridCol>
              </a:tblGrid>
              <a:tr h="5346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Platform (group)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DO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Device Count Contract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 Year Total (Pay As You Go - No Contract)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 Year Total (1yr All Up Front Reserved)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 Year Total (3yr All Up Front Reserved)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Upfront Cost</a:t>
                      </a:r>
                      <a:endParaRPr lang="en-US" sz="8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849497961"/>
                  </a:ext>
                </a:extLst>
              </a:tr>
              <a:tr h="158528">
                <a:tc rowSpan="13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Physical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AppleCare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5,071.1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0,101.8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7,188.7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7,188.7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997743820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DMG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7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937,307.6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,392,342.4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339,647.9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,573,270.5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425647906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Monarch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401620240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Mountain West</a:t>
                      </a:r>
                      <a:endParaRPr lang="en-US" sz="8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698,609.1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279,344.8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991,266.6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715,168.9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419112180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NAMM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5,544.1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8,941.0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5,801.1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5,801.1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401765782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C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27,759.5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15,022.8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43,658.9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31,438.7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816603637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NY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5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588,612.8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075,726.0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95,841.1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67,800.4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417881713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olyClinic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4,270.0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2,617.8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1,833.8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949.8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094856246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Relian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099,147.8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896,073.6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46,085.3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197,756.4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608344091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SCA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454,653.19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52,661.3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02,744.2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91,253.3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975953557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USM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36,892.5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19,404.2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3,440.4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3,440.4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1944804"/>
                  </a:ext>
                </a:extLst>
              </a:tr>
              <a:tr h="169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ellMe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2,626,086.6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4,682,044.4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304,570.9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,308,637.7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2219597170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u="none" strike="noStrike" dirty="0">
                          <a:effectLst/>
                        </a:rPr>
                        <a:t>Total</a:t>
                      </a:r>
                      <a:endParaRPr lang="en-US" sz="8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624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43,033,954.64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>
                          <a:effectLst/>
                        </a:rPr>
                        <a:t>$29,164,280.48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>
                          <a:effectLst/>
                        </a:rPr>
                        <a:t>$21,372,079.38</a:t>
                      </a:r>
                      <a:endParaRPr lang="en-US" sz="8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18,225,706.38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834464557"/>
                  </a:ext>
                </a:extLst>
              </a:tr>
              <a:tr h="158528">
                <a:tc rowSpan="14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Virtual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AppleCare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26,567.1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439,823.66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93,739.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47,675.07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855511243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DMG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,75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3,807,383.2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1,406,825.84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095,560.83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6,518,695.15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021248179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Monarch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6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878,594.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307,714.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001,502.9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693,889.0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878180800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Mountain Wes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,3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0,982,827.2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,215,471.2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,312,296.0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,268,750.0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2973081802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NAMM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7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085,056.5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884,816.3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772,474.8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21,102.0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2651244058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C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3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900,724.6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568,791.9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381,325.4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18,771.1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205698117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HNY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711,894.9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423,625.9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61,765.8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873,583.9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094140962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PolyClinic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4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183,618.3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858,039.1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685,839.13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59,906.6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362289703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Reliant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932,403.8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588,325.0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380,569.0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189,638.3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547459407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SCA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82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360,212.0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2,036,081.38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1,866,656.85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65,305.4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2021955688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USM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19,606.19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44,877.7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504,573.12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230,656.68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829923621"/>
                  </a:ext>
                </a:extLst>
              </a:tr>
              <a:tr h="15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ellMed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5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,079,027.8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4,140,643.67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3,610,326.9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3,035,951.26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426224838"/>
                  </a:ext>
                </a:extLst>
              </a:tr>
              <a:tr h="169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Other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1,282,379.9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16,213.04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72,268.16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665,724.44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652941515"/>
                  </a:ext>
                </a:extLst>
              </a:tr>
              <a:tr h="169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u="none" strike="noStrike" dirty="0">
                          <a:effectLst/>
                        </a:rPr>
                        <a:t>Total</a:t>
                      </a:r>
                      <a:endParaRPr lang="en-US" sz="8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6,487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48,350,296.15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40,331,249.27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35,938,898.52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u="none" strike="noStrike" dirty="0">
                          <a:effectLst/>
                        </a:rPr>
                        <a:t>$22,189,649.28</a:t>
                      </a:r>
                      <a:endParaRPr lang="en-US" sz="8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1480496306"/>
                  </a:ext>
                </a:extLst>
              </a:tr>
              <a:tr h="158528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Grand Total</a:t>
                      </a:r>
                      <a:endParaRPr lang="en-US" sz="8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,111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91,384,250.8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69,495,529.75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$57,310,977.90</a:t>
                      </a:r>
                      <a:endParaRPr lang="en-US" sz="8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$40,415,355.66</a:t>
                      </a:r>
                      <a:endParaRPr lang="en-US" sz="8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212" marR="6212" marT="6212" marB="0" anchor="ctr"/>
                </a:tc>
                <a:extLst>
                  <a:ext uri="{0D108BD9-81ED-4DB2-BD59-A6C34878D82A}">
                    <a16:rowId xmlns:a16="http://schemas.microsoft.com/office/drawing/2014/main" val="3800478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9688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ts and graph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2617788" y="6486525"/>
            <a:ext cx="6526212" cy="365125"/>
          </a:xfrm>
        </p:spPr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7600" y="6486525"/>
            <a:ext cx="406400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4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0615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nfrastructure Totals by CDO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AA4413-13CA-D147-9AF6-A1292F6167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1475" y="1194107"/>
            <a:ext cx="8484054" cy="512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517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9AB3A7CC-D718-E644-A4BF-D9276A631A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266" y="1194107"/>
            <a:ext cx="8966201" cy="4944225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0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otal Server Inventory by CDO*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6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3CCD0A-7127-9B4E-8040-BBB4955716CC}"/>
              </a:ext>
            </a:extLst>
          </p:cNvPr>
          <p:cNvSpPr txBox="1"/>
          <p:nvPr/>
        </p:nvSpPr>
        <p:spPr bwMode="gray">
          <a:xfrm>
            <a:off x="524930" y="181820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27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098E92-5253-8449-B742-31CBD50ED4B1}"/>
              </a:ext>
            </a:extLst>
          </p:cNvPr>
          <p:cNvSpPr txBox="1"/>
          <p:nvPr/>
        </p:nvSpPr>
        <p:spPr bwMode="gray">
          <a:xfrm>
            <a:off x="1244596" y="275060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19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9306FC-CE7C-F946-A5D2-463D2F2C98FF}"/>
              </a:ext>
            </a:extLst>
          </p:cNvPr>
          <p:cNvSpPr txBox="1"/>
          <p:nvPr/>
        </p:nvSpPr>
        <p:spPr bwMode="gray">
          <a:xfrm>
            <a:off x="1976963" y="415838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11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4A2122-1DF3-4546-A612-8F113A8D1E9B}"/>
              </a:ext>
            </a:extLst>
          </p:cNvPr>
          <p:cNvSpPr txBox="1"/>
          <p:nvPr/>
        </p:nvSpPr>
        <p:spPr bwMode="gray">
          <a:xfrm>
            <a:off x="3382665" y="4424820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8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752B3E-FF9E-EF4D-998A-1AA2AC90FF58}"/>
              </a:ext>
            </a:extLst>
          </p:cNvPr>
          <p:cNvSpPr txBox="1"/>
          <p:nvPr/>
        </p:nvSpPr>
        <p:spPr bwMode="gray">
          <a:xfrm>
            <a:off x="2699268" y="461489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9FD023-E00B-CC4E-AFC1-03EE21D31172}"/>
              </a:ext>
            </a:extLst>
          </p:cNvPr>
          <p:cNvSpPr txBox="1"/>
          <p:nvPr/>
        </p:nvSpPr>
        <p:spPr bwMode="gray">
          <a:xfrm>
            <a:off x="4105965" y="464804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8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6113F8-CF5C-7D4D-BBB6-302365354E7F}"/>
              </a:ext>
            </a:extLst>
          </p:cNvPr>
          <p:cNvSpPr txBox="1"/>
          <p:nvPr/>
        </p:nvSpPr>
        <p:spPr bwMode="gray">
          <a:xfrm>
            <a:off x="4818114" y="488986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16AAD2-09EF-EF48-9577-354EB0E2564D}"/>
              </a:ext>
            </a:extLst>
          </p:cNvPr>
          <p:cNvSpPr txBox="1"/>
          <p:nvPr/>
        </p:nvSpPr>
        <p:spPr bwMode="gray">
          <a:xfrm>
            <a:off x="5527503" y="510204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5D112E-DA42-4141-BF26-B165E4EFFB4A}"/>
              </a:ext>
            </a:extLst>
          </p:cNvPr>
          <p:cNvSpPr txBox="1"/>
          <p:nvPr/>
        </p:nvSpPr>
        <p:spPr bwMode="gray">
          <a:xfrm>
            <a:off x="7676464" y="549129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2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F58D54E-8320-CE44-BF75-39342AC409D3}"/>
              </a:ext>
            </a:extLst>
          </p:cNvPr>
          <p:cNvSpPr txBox="1"/>
          <p:nvPr/>
        </p:nvSpPr>
        <p:spPr bwMode="gray">
          <a:xfrm>
            <a:off x="6258816" y="516046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9AD249-0273-434F-8040-6671681A5135}"/>
              </a:ext>
            </a:extLst>
          </p:cNvPr>
          <p:cNvSpPr txBox="1"/>
          <p:nvPr/>
        </p:nvSpPr>
        <p:spPr bwMode="gray">
          <a:xfrm>
            <a:off x="6973685" y="5304293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900" b="1" dirty="0">
                <a:solidFill>
                  <a:schemeClr val="bg1"/>
                </a:solidFill>
              </a:rPr>
              <a:t>2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AEC8EA-A657-544A-B79D-38025AAA70B0}"/>
              </a:ext>
            </a:extLst>
          </p:cNvPr>
          <p:cNvSpPr txBox="1"/>
          <p:nvPr/>
        </p:nvSpPr>
        <p:spPr bwMode="gray">
          <a:xfrm>
            <a:off x="8411109" y="5473690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900" b="1" dirty="0">
                <a:solidFill>
                  <a:schemeClr val="bg1"/>
                </a:solidFill>
              </a:rPr>
              <a:t>1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616BBB1-6962-F54E-8C09-2D7091342C3C}"/>
              </a:ext>
            </a:extLst>
          </p:cNvPr>
          <p:cNvSpPr txBox="1"/>
          <p:nvPr/>
        </p:nvSpPr>
        <p:spPr bwMode="gray">
          <a:xfrm>
            <a:off x="474128" y="1619174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2,087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D5722DA-11D0-F940-86D1-76F79B432408}"/>
              </a:ext>
            </a:extLst>
          </p:cNvPr>
          <p:cNvSpPr txBox="1"/>
          <p:nvPr/>
        </p:nvSpPr>
        <p:spPr bwMode="gray">
          <a:xfrm>
            <a:off x="1161619" y="2539230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1,49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3CFD74-EBEE-EA41-AD5E-6DA4E51DB112}"/>
              </a:ext>
            </a:extLst>
          </p:cNvPr>
          <p:cNvSpPr txBox="1"/>
          <p:nvPr/>
        </p:nvSpPr>
        <p:spPr bwMode="gray">
          <a:xfrm>
            <a:off x="1898227" y="3927413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838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D127D1D-55F7-4B4D-8019-296532C52050}"/>
              </a:ext>
            </a:extLst>
          </p:cNvPr>
          <p:cNvSpPr txBox="1"/>
          <p:nvPr/>
        </p:nvSpPr>
        <p:spPr bwMode="gray">
          <a:xfrm>
            <a:off x="3323626" y="4216555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60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DA5F56-EAA9-D441-BF6E-2BDAE68C408F}"/>
              </a:ext>
            </a:extLst>
          </p:cNvPr>
          <p:cNvSpPr txBox="1"/>
          <p:nvPr/>
        </p:nvSpPr>
        <p:spPr bwMode="gray">
          <a:xfrm>
            <a:off x="2614598" y="4398691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797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C551BCF-24A6-1344-A0E9-4992FB1159D2}"/>
              </a:ext>
            </a:extLst>
          </p:cNvPr>
          <p:cNvSpPr txBox="1"/>
          <p:nvPr/>
        </p:nvSpPr>
        <p:spPr bwMode="gray">
          <a:xfrm>
            <a:off x="4014049" y="4401693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59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BB8CC8-A792-7A46-A1C3-27439F0BD00E}"/>
              </a:ext>
            </a:extLst>
          </p:cNvPr>
          <p:cNvSpPr txBox="1"/>
          <p:nvPr/>
        </p:nvSpPr>
        <p:spPr bwMode="gray">
          <a:xfrm>
            <a:off x="4743670" y="4681912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358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D3BE17D-2B5B-CE46-AABE-ED3495572C01}"/>
              </a:ext>
            </a:extLst>
          </p:cNvPr>
          <p:cNvSpPr txBox="1"/>
          <p:nvPr/>
        </p:nvSpPr>
        <p:spPr bwMode="gray">
          <a:xfrm>
            <a:off x="5474276" y="4874507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327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59F8D47-4BC1-ED46-938C-9A748274C635}"/>
              </a:ext>
            </a:extLst>
          </p:cNvPr>
          <p:cNvSpPr txBox="1"/>
          <p:nvPr/>
        </p:nvSpPr>
        <p:spPr bwMode="gray">
          <a:xfrm>
            <a:off x="6172781" y="4916664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26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1CC3CF4-42A8-3147-A914-29A5662606B3}"/>
              </a:ext>
            </a:extLst>
          </p:cNvPr>
          <p:cNvSpPr txBox="1"/>
          <p:nvPr/>
        </p:nvSpPr>
        <p:spPr bwMode="gray">
          <a:xfrm>
            <a:off x="6890210" y="5095072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178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8C3FCC3-9C15-6E4E-8493-150C2A12EA7F}"/>
              </a:ext>
            </a:extLst>
          </p:cNvPr>
          <p:cNvSpPr txBox="1"/>
          <p:nvPr/>
        </p:nvSpPr>
        <p:spPr bwMode="gray">
          <a:xfrm>
            <a:off x="8326439" y="5262598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10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564FD41-E93D-B44C-9DD4-5A63DC42D718}"/>
              </a:ext>
            </a:extLst>
          </p:cNvPr>
          <p:cNvSpPr txBox="1"/>
          <p:nvPr/>
        </p:nvSpPr>
        <p:spPr bwMode="gray">
          <a:xfrm>
            <a:off x="7590282" y="5245873"/>
            <a:ext cx="49953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16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EFACD34-1693-1C41-BE00-80E156B656AE}"/>
              </a:ext>
            </a:extLst>
          </p:cNvPr>
          <p:cNvSpPr txBox="1"/>
          <p:nvPr/>
        </p:nvSpPr>
        <p:spPr bwMode="gray">
          <a:xfrm>
            <a:off x="5580828" y="6366933"/>
            <a:ext cx="327470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en-US" sz="1100" dirty="0"/>
              <a:t>*Linux servers total &lt; 1% and are not included</a:t>
            </a:r>
          </a:p>
        </p:txBody>
      </p:sp>
    </p:spTree>
    <p:extLst>
      <p:ext uri="{BB962C8B-B14F-4D97-AF65-F5344CB8AC3E}">
        <p14:creationId xmlns:p14="http://schemas.microsoft.com/office/powerpoint/2010/main" val="20296525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4E0D44F-AA46-8942-8A67-A9B80C2574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75" y="1221901"/>
            <a:ext cx="8484054" cy="5161966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1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7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3E3C1C-3C95-AF48-A5C7-F994BF482A0A}"/>
              </a:ext>
            </a:extLst>
          </p:cNvPr>
          <p:cNvSpPr txBox="1"/>
          <p:nvPr/>
        </p:nvSpPr>
        <p:spPr bwMode="gray">
          <a:xfrm>
            <a:off x="934267" y="1890659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5 THz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575830F-A171-B041-8CE5-F89ABFC76A27}"/>
              </a:ext>
            </a:extLst>
          </p:cNvPr>
          <p:cNvSpPr txBox="1"/>
          <p:nvPr/>
        </p:nvSpPr>
        <p:spPr bwMode="gray">
          <a:xfrm>
            <a:off x="1532467" y="2471686"/>
            <a:ext cx="7009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2.75 THz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AA02EF-04C8-2440-82AD-C2A25DFAB669}"/>
              </a:ext>
            </a:extLst>
          </p:cNvPr>
          <p:cNvSpPr txBox="1"/>
          <p:nvPr/>
        </p:nvSpPr>
        <p:spPr bwMode="gray">
          <a:xfrm>
            <a:off x="2233096" y="3908353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7.48 THz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A0F5EF5-B26A-9A48-AD2F-7EE75779DE6E}"/>
              </a:ext>
            </a:extLst>
          </p:cNvPr>
          <p:cNvSpPr txBox="1"/>
          <p:nvPr/>
        </p:nvSpPr>
        <p:spPr bwMode="gray">
          <a:xfrm>
            <a:off x="2914082" y="4669445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.63 THz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29D4B8C-528B-AC4A-9D00-8B84BEC0AE3E}"/>
              </a:ext>
            </a:extLst>
          </p:cNvPr>
          <p:cNvSpPr txBox="1"/>
          <p:nvPr/>
        </p:nvSpPr>
        <p:spPr bwMode="gray">
          <a:xfrm>
            <a:off x="3575890" y="4770379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.32 THz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1C0A2B0-F9BC-8443-AF86-BF0AC9E34FB2}"/>
              </a:ext>
            </a:extLst>
          </p:cNvPr>
          <p:cNvSpPr txBox="1"/>
          <p:nvPr/>
        </p:nvSpPr>
        <p:spPr bwMode="gray">
          <a:xfrm>
            <a:off x="4247858" y="4781398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.21THz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D4C88E-95D2-3246-90CD-67787473A933}"/>
              </a:ext>
            </a:extLst>
          </p:cNvPr>
          <p:cNvSpPr txBox="1"/>
          <p:nvPr/>
        </p:nvSpPr>
        <p:spPr bwMode="gray">
          <a:xfrm>
            <a:off x="4862649" y="4956500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.56 THz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97B653-87CC-F142-A1DC-9FB1E3943FAA}"/>
              </a:ext>
            </a:extLst>
          </p:cNvPr>
          <p:cNvSpPr txBox="1"/>
          <p:nvPr/>
        </p:nvSpPr>
        <p:spPr bwMode="gray">
          <a:xfrm>
            <a:off x="5498735" y="5079627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.09 THz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298C8B2-62AE-6549-A403-9F334EC9DE14}"/>
              </a:ext>
            </a:extLst>
          </p:cNvPr>
          <p:cNvSpPr txBox="1"/>
          <p:nvPr/>
        </p:nvSpPr>
        <p:spPr bwMode="gray">
          <a:xfrm>
            <a:off x="6174011" y="5224276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.67 THz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F6A9653-276A-1741-9323-6830A638D9D7}"/>
              </a:ext>
            </a:extLst>
          </p:cNvPr>
          <p:cNvSpPr txBox="1"/>
          <p:nvPr/>
        </p:nvSpPr>
        <p:spPr bwMode="gray">
          <a:xfrm>
            <a:off x="6814716" y="5501665"/>
            <a:ext cx="6183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61 THz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8BBD58-1BC6-B047-9562-09DB7AE78B7C}"/>
              </a:ext>
            </a:extLst>
          </p:cNvPr>
          <p:cNvSpPr txBox="1"/>
          <p:nvPr/>
        </p:nvSpPr>
        <p:spPr bwMode="gray">
          <a:xfrm>
            <a:off x="7483887" y="5655321"/>
            <a:ext cx="5613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04 THz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66F0697-ACA4-8C4F-8639-4052FD778F23}"/>
              </a:ext>
            </a:extLst>
          </p:cNvPr>
          <p:cNvSpPr txBox="1"/>
          <p:nvPr/>
        </p:nvSpPr>
        <p:spPr bwMode="gray">
          <a:xfrm>
            <a:off x="8120429" y="5774569"/>
            <a:ext cx="6306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603 GHz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Virtual CPU Provisioned and Average Utilization by CD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056135-DF68-2647-B1BB-B2E42E26270E}"/>
              </a:ext>
            </a:extLst>
          </p:cNvPr>
          <p:cNvSpPr txBox="1"/>
          <p:nvPr/>
        </p:nvSpPr>
        <p:spPr bwMode="gray">
          <a:xfrm>
            <a:off x="908867" y="2085394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5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73A2AF3-B7C8-B240-8B87-3CEFADB4828F}"/>
              </a:ext>
            </a:extLst>
          </p:cNvPr>
          <p:cNvSpPr txBox="1"/>
          <p:nvPr/>
        </p:nvSpPr>
        <p:spPr bwMode="gray">
          <a:xfrm>
            <a:off x="1540935" y="2666421"/>
            <a:ext cx="7009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DB274E-4598-5E4A-A68C-CEDCE7D038BD}"/>
              </a:ext>
            </a:extLst>
          </p:cNvPr>
          <p:cNvSpPr txBox="1"/>
          <p:nvPr/>
        </p:nvSpPr>
        <p:spPr bwMode="gray">
          <a:xfrm>
            <a:off x="2241564" y="4103088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9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571CB0-73AE-7640-8225-3085BB4AB906}"/>
              </a:ext>
            </a:extLst>
          </p:cNvPr>
          <p:cNvSpPr txBox="1"/>
          <p:nvPr/>
        </p:nvSpPr>
        <p:spPr bwMode="gray">
          <a:xfrm>
            <a:off x="2922550" y="4864180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.3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74FACC-3FF0-5F43-AE00-CED843B82C6E}"/>
              </a:ext>
            </a:extLst>
          </p:cNvPr>
          <p:cNvSpPr txBox="1"/>
          <p:nvPr/>
        </p:nvSpPr>
        <p:spPr bwMode="gray">
          <a:xfrm>
            <a:off x="3558957" y="4965114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4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C89EB-184A-2E4F-8482-3E97CAD5CB4C}"/>
              </a:ext>
            </a:extLst>
          </p:cNvPr>
          <p:cNvSpPr txBox="1"/>
          <p:nvPr/>
        </p:nvSpPr>
        <p:spPr bwMode="gray">
          <a:xfrm>
            <a:off x="4256326" y="4976133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.8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B2520E-4D76-5440-8FA6-B544B88C2932}"/>
              </a:ext>
            </a:extLst>
          </p:cNvPr>
          <p:cNvSpPr txBox="1"/>
          <p:nvPr/>
        </p:nvSpPr>
        <p:spPr bwMode="gray">
          <a:xfrm>
            <a:off x="4871117" y="5151235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.9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022DBD-5ED3-314E-B209-C8CB416A3046}"/>
              </a:ext>
            </a:extLst>
          </p:cNvPr>
          <p:cNvSpPr txBox="1"/>
          <p:nvPr/>
        </p:nvSpPr>
        <p:spPr bwMode="gray">
          <a:xfrm>
            <a:off x="5507203" y="5274362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748AFD-19B6-FF49-938B-A1083BE71DD2}"/>
              </a:ext>
            </a:extLst>
          </p:cNvPr>
          <p:cNvSpPr txBox="1"/>
          <p:nvPr/>
        </p:nvSpPr>
        <p:spPr bwMode="gray">
          <a:xfrm>
            <a:off x="6182479" y="5419011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6.6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53BA870-A99F-8F41-9C3A-2362C8BC0F13}"/>
              </a:ext>
            </a:extLst>
          </p:cNvPr>
          <p:cNvSpPr txBox="1"/>
          <p:nvPr/>
        </p:nvSpPr>
        <p:spPr bwMode="gray">
          <a:xfrm>
            <a:off x="6823184" y="5696400"/>
            <a:ext cx="6183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7.9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0DC2B5-92C4-0E45-8653-6A34AB95DC50}"/>
              </a:ext>
            </a:extLst>
          </p:cNvPr>
          <p:cNvSpPr txBox="1"/>
          <p:nvPr/>
        </p:nvSpPr>
        <p:spPr bwMode="gray">
          <a:xfrm>
            <a:off x="7492355" y="5850056"/>
            <a:ext cx="5613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1.4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63C8E13-0496-334B-B2FA-2015DC6EAFF1}"/>
              </a:ext>
            </a:extLst>
          </p:cNvPr>
          <p:cNvSpPr txBox="1"/>
          <p:nvPr/>
        </p:nvSpPr>
        <p:spPr bwMode="gray">
          <a:xfrm>
            <a:off x="8128897" y="5969304"/>
            <a:ext cx="6306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>
                <a:solidFill>
                  <a:schemeClr val="bg1"/>
                </a:solidFill>
              </a:rPr>
              <a:t>6%</a:t>
            </a:r>
          </a:p>
        </p:txBody>
      </p:sp>
    </p:spTree>
    <p:extLst>
      <p:ext uri="{BB962C8B-B14F-4D97-AF65-F5344CB8AC3E}">
        <p14:creationId xmlns:p14="http://schemas.microsoft.com/office/powerpoint/2010/main" val="10164634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B21B9A7-696B-AB49-9628-67AD9B5447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74" y="1234126"/>
            <a:ext cx="8484055" cy="521948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3E3C1C-3C95-AF48-A5C7-F994BF482A0A}"/>
              </a:ext>
            </a:extLst>
          </p:cNvPr>
          <p:cNvSpPr txBox="1"/>
          <p:nvPr/>
        </p:nvSpPr>
        <p:spPr bwMode="gray">
          <a:xfrm>
            <a:off x="934267" y="2144662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9.6 THz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575830F-A171-B041-8CE5-F89ABFC76A27}"/>
              </a:ext>
            </a:extLst>
          </p:cNvPr>
          <p:cNvSpPr txBox="1"/>
          <p:nvPr/>
        </p:nvSpPr>
        <p:spPr bwMode="gray">
          <a:xfrm>
            <a:off x="1549401" y="3496156"/>
            <a:ext cx="7009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.3 THz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AA02EF-04C8-2440-82AD-C2A25DFAB669}"/>
              </a:ext>
            </a:extLst>
          </p:cNvPr>
          <p:cNvSpPr txBox="1"/>
          <p:nvPr/>
        </p:nvSpPr>
        <p:spPr bwMode="gray">
          <a:xfrm>
            <a:off x="2233096" y="3781352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5.6 THz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A0F5EF5-B26A-9A48-AD2F-7EE75779DE6E}"/>
              </a:ext>
            </a:extLst>
          </p:cNvPr>
          <p:cNvSpPr txBox="1"/>
          <p:nvPr/>
        </p:nvSpPr>
        <p:spPr bwMode="gray">
          <a:xfrm>
            <a:off x="2922549" y="4449313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.9 THz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29D4B8C-528B-AC4A-9D00-8B84BEC0AE3E}"/>
              </a:ext>
            </a:extLst>
          </p:cNvPr>
          <p:cNvSpPr txBox="1"/>
          <p:nvPr/>
        </p:nvSpPr>
        <p:spPr bwMode="gray">
          <a:xfrm>
            <a:off x="3575890" y="4990514"/>
            <a:ext cx="59806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.58 THz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1C0A2B0-F9BC-8443-AF86-BF0AC9E34FB2}"/>
              </a:ext>
            </a:extLst>
          </p:cNvPr>
          <p:cNvSpPr txBox="1"/>
          <p:nvPr/>
        </p:nvSpPr>
        <p:spPr bwMode="gray">
          <a:xfrm>
            <a:off x="4247858" y="5382535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5 THz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D4C88E-95D2-3246-90CD-67787473A933}"/>
              </a:ext>
            </a:extLst>
          </p:cNvPr>
          <p:cNvSpPr txBox="1"/>
          <p:nvPr/>
        </p:nvSpPr>
        <p:spPr bwMode="gray">
          <a:xfrm>
            <a:off x="4871116" y="5439099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48 THz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97B653-87CC-F142-A1DC-9FB1E3943FAA}"/>
              </a:ext>
            </a:extLst>
          </p:cNvPr>
          <p:cNvSpPr txBox="1"/>
          <p:nvPr/>
        </p:nvSpPr>
        <p:spPr bwMode="gray">
          <a:xfrm>
            <a:off x="5498734" y="5836236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14 GHz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298C8B2-62AE-6549-A403-9F334EC9DE14}"/>
              </a:ext>
            </a:extLst>
          </p:cNvPr>
          <p:cNvSpPr txBox="1"/>
          <p:nvPr/>
        </p:nvSpPr>
        <p:spPr bwMode="gray">
          <a:xfrm>
            <a:off x="6183027" y="5851041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84 GHz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F6A9653-276A-1741-9323-6830A638D9D7}"/>
              </a:ext>
            </a:extLst>
          </p:cNvPr>
          <p:cNvSpPr txBox="1"/>
          <p:nvPr/>
        </p:nvSpPr>
        <p:spPr bwMode="gray">
          <a:xfrm>
            <a:off x="6814716" y="5837180"/>
            <a:ext cx="6183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1 GHz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8BBD58-1BC6-B047-9562-09DB7AE78B7C}"/>
              </a:ext>
            </a:extLst>
          </p:cNvPr>
          <p:cNvSpPr txBox="1"/>
          <p:nvPr/>
        </p:nvSpPr>
        <p:spPr bwMode="gray">
          <a:xfrm>
            <a:off x="7500339" y="6035943"/>
            <a:ext cx="5613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2 GHz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66F0697-ACA4-8C4F-8639-4052FD778F23}"/>
              </a:ext>
            </a:extLst>
          </p:cNvPr>
          <p:cNvSpPr txBox="1"/>
          <p:nvPr/>
        </p:nvSpPr>
        <p:spPr bwMode="gray">
          <a:xfrm>
            <a:off x="8143240" y="6020776"/>
            <a:ext cx="6306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22 GHz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hysical CPU Provisioned and Average Utilization by CD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056135-DF68-2647-B1BB-B2E42E26270E}"/>
              </a:ext>
            </a:extLst>
          </p:cNvPr>
          <p:cNvSpPr txBox="1"/>
          <p:nvPr/>
        </p:nvSpPr>
        <p:spPr bwMode="gray">
          <a:xfrm>
            <a:off x="908867" y="2339397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8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73A2AF3-B7C8-B240-8B87-3CEFADB4828F}"/>
              </a:ext>
            </a:extLst>
          </p:cNvPr>
          <p:cNvSpPr txBox="1"/>
          <p:nvPr/>
        </p:nvSpPr>
        <p:spPr bwMode="gray">
          <a:xfrm>
            <a:off x="1557869" y="3690891"/>
            <a:ext cx="7009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DB274E-4598-5E4A-A68C-CEDCE7D038BD}"/>
              </a:ext>
            </a:extLst>
          </p:cNvPr>
          <p:cNvSpPr txBox="1"/>
          <p:nvPr/>
        </p:nvSpPr>
        <p:spPr bwMode="gray">
          <a:xfrm>
            <a:off x="2241564" y="3976087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3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571CB0-73AE-7640-8225-3085BB4AB906}"/>
              </a:ext>
            </a:extLst>
          </p:cNvPr>
          <p:cNvSpPr txBox="1"/>
          <p:nvPr/>
        </p:nvSpPr>
        <p:spPr bwMode="gray">
          <a:xfrm>
            <a:off x="2931017" y="4644048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.6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74FACC-3FF0-5F43-AE00-CED843B82C6E}"/>
              </a:ext>
            </a:extLst>
          </p:cNvPr>
          <p:cNvSpPr txBox="1"/>
          <p:nvPr/>
        </p:nvSpPr>
        <p:spPr bwMode="gray">
          <a:xfrm>
            <a:off x="3558957" y="5219117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2.4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C89EB-184A-2E4F-8482-3E97CAD5CB4C}"/>
              </a:ext>
            </a:extLst>
          </p:cNvPr>
          <p:cNvSpPr txBox="1"/>
          <p:nvPr/>
        </p:nvSpPr>
        <p:spPr bwMode="gray">
          <a:xfrm>
            <a:off x="4256326" y="5577270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2.2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B2520E-4D76-5440-8FA6-B544B88C2932}"/>
              </a:ext>
            </a:extLst>
          </p:cNvPr>
          <p:cNvSpPr txBox="1"/>
          <p:nvPr/>
        </p:nvSpPr>
        <p:spPr bwMode="gray">
          <a:xfrm>
            <a:off x="4879584" y="5633834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.1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022DBD-5ED3-314E-B209-C8CB416A3046}"/>
              </a:ext>
            </a:extLst>
          </p:cNvPr>
          <p:cNvSpPr txBox="1"/>
          <p:nvPr/>
        </p:nvSpPr>
        <p:spPr bwMode="gray">
          <a:xfrm>
            <a:off x="5587997" y="6034722"/>
            <a:ext cx="461987" cy="161583"/>
          </a:xfrm>
          <a:prstGeom prst="rect">
            <a:avLst/>
          </a:prstGeom>
          <a:solidFill>
            <a:srgbClr val="0000FF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.3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748AFD-19B6-FF49-938B-A1083BE71DD2}"/>
              </a:ext>
            </a:extLst>
          </p:cNvPr>
          <p:cNvSpPr txBox="1"/>
          <p:nvPr/>
        </p:nvSpPr>
        <p:spPr bwMode="gray">
          <a:xfrm>
            <a:off x="6273797" y="6035942"/>
            <a:ext cx="394283" cy="161583"/>
          </a:xfrm>
          <a:prstGeom prst="rect">
            <a:avLst/>
          </a:prstGeom>
          <a:solidFill>
            <a:srgbClr val="0000FF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.3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53BA870-A99F-8F41-9C3A-2362C8BC0F13}"/>
              </a:ext>
            </a:extLst>
          </p:cNvPr>
          <p:cNvSpPr txBox="1"/>
          <p:nvPr/>
        </p:nvSpPr>
        <p:spPr bwMode="gray">
          <a:xfrm>
            <a:off x="6900332" y="6035942"/>
            <a:ext cx="448085" cy="161583"/>
          </a:xfrm>
          <a:prstGeom prst="rect">
            <a:avLst/>
          </a:prstGeom>
          <a:solidFill>
            <a:srgbClr val="0000FF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.2%</a:t>
            </a:r>
          </a:p>
        </p:txBody>
      </p:sp>
    </p:spTree>
    <p:extLst>
      <p:ext uri="{BB962C8B-B14F-4D97-AF65-F5344CB8AC3E}">
        <p14:creationId xmlns:p14="http://schemas.microsoft.com/office/powerpoint/2010/main" val="26812219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2EE1F1-07B2-A947-8513-AA9220559E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4540" y="1236136"/>
            <a:ext cx="8484055" cy="5097861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9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9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Virtual RAM Provisioned and Average Utilization by CD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D3D64F-0BDA-8C4B-94B5-4CD6F8EA4A4E}"/>
              </a:ext>
            </a:extLst>
          </p:cNvPr>
          <p:cNvSpPr txBox="1"/>
          <p:nvPr/>
        </p:nvSpPr>
        <p:spPr bwMode="gray">
          <a:xfrm>
            <a:off x="1026604" y="1811560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4 T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EAEFE9-DBC4-6E4E-B018-3643C4E6442C}"/>
              </a:ext>
            </a:extLst>
          </p:cNvPr>
          <p:cNvSpPr txBox="1"/>
          <p:nvPr/>
        </p:nvSpPr>
        <p:spPr bwMode="gray">
          <a:xfrm>
            <a:off x="1691501" y="2531633"/>
            <a:ext cx="58177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7 TB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29DE31-0D88-F540-AAA7-E5ADE2565C65}"/>
              </a:ext>
            </a:extLst>
          </p:cNvPr>
          <p:cNvSpPr txBox="1"/>
          <p:nvPr/>
        </p:nvSpPr>
        <p:spPr bwMode="gray">
          <a:xfrm>
            <a:off x="2324081" y="3614349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7 TB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646933-4350-994D-A505-A86427DF2308}"/>
              </a:ext>
            </a:extLst>
          </p:cNvPr>
          <p:cNvSpPr txBox="1"/>
          <p:nvPr/>
        </p:nvSpPr>
        <p:spPr bwMode="gray">
          <a:xfrm>
            <a:off x="2979515" y="4633161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8 TB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1DDEDA-068F-A540-ADE5-1ED11518819C}"/>
              </a:ext>
            </a:extLst>
          </p:cNvPr>
          <p:cNvSpPr txBox="1"/>
          <p:nvPr/>
        </p:nvSpPr>
        <p:spPr bwMode="gray">
          <a:xfrm>
            <a:off x="3618330" y="4762391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7 TB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113A7E-207F-924C-95C8-799CA3AA7832}"/>
              </a:ext>
            </a:extLst>
          </p:cNvPr>
          <p:cNvSpPr txBox="1"/>
          <p:nvPr/>
        </p:nvSpPr>
        <p:spPr bwMode="gray">
          <a:xfrm>
            <a:off x="4289926" y="4773360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.9 TB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3B269D-D155-394C-BAE7-DC12953B7718}"/>
              </a:ext>
            </a:extLst>
          </p:cNvPr>
          <p:cNvSpPr txBox="1"/>
          <p:nvPr/>
        </p:nvSpPr>
        <p:spPr bwMode="gray">
          <a:xfrm>
            <a:off x="4915071" y="4777531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.8 T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24F0BA-9E41-5940-ACC0-C03963BBAD18}"/>
              </a:ext>
            </a:extLst>
          </p:cNvPr>
          <p:cNvSpPr txBox="1"/>
          <p:nvPr/>
        </p:nvSpPr>
        <p:spPr bwMode="gray">
          <a:xfrm>
            <a:off x="5546102" y="4992506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.6 T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CE567CB-D8F2-3944-A7D4-8D7576A8DD93}"/>
              </a:ext>
            </a:extLst>
          </p:cNvPr>
          <p:cNvSpPr txBox="1"/>
          <p:nvPr/>
        </p:nvSpPr>
        <p:spPr bwMode="gray">
          <a:xfrm>
            <a:off x="6196437" y="5071887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 TB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704859-C5F1-7443-8ED8-414DC5D685A7}"/>
              </a:ext>
            </a:extLst>
          </p:cNvPr>
          <p:cNvSpPr txBox="1"/>
          <p:nvPr/>
        </p:nvSpPr>
        <p:spPr bwMode="gray">
          <a:xfrm>
            <a:off x="6846862" y="5246874"/>
            <a:ext cx="6183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.3 TB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5D3686-050E-534C-A7C7-8AA2FE201DED}"/>
              </a:ext>
            </a:extLst>
          </p:cNvPr>
          <p:cNvSpPr txBox="1"/>
          <p:nvPr/>
        </p:nvSpPr>
        <p:spPr bwMode="gray">
          <a:xfrm>
            <a:off x="7515219" y="5367779"/>
            <a:ext cx="5613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2 TB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7ECB8B9-533D-114C-ADC8-E49909A8A9C2}"/>
              </a:ext>
            </a:extLst>
          </p:cNvPr>
          <p:cNvSpPr txBox="1"/>
          <p:nvPr/>
        </p:nvSpPr>
        <p:spPr bwMode="gray">
          <a:xfrm>
            <a:off x="8113755" y="5396969"/>
            <a:ext cx="6306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1 T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54E908-A326-2D4C-A55B-C345879D5679}"/>
              </a:ext>
            </a:extLst>
          </p:cNvPr>
          <p:cNvSpPr txBox="1"/>
          <p:nvPr/>
        </p:nvSpPr>
        <p:spPr bwMode="gray">
          <a:xfrm>
            <a:off x="1009664" y="1989361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2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B3A4CC1-8AB4-5042-9718-65FECCE09481}"/>
              </a:ext>
            </a:extLst>
          </p:cNvPr>
          <p:cNvSpPr txBox="1"/>
          <p:nvPr/>
        </p:nvSpPr>
        <p:spPr bwMode="gray">
          <a:xfrm>
            <a:off x="1674561" y="2709434"/>
            <a:ext cx="58177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1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C55C697-3580-4347-A5EE-B92BD18A4F92}"/>
              </a:ext>
            </a:extLst>
          </p:cNvPr>
          <p:cNvSpPr txBox="1"/>
          <p:nvPr/>
        </p:nvSpPr>
        <p:spPr bwMode="gray">
          <a:xfrm>
            <a:off x="2307141" y="3792150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5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1E75C11-BE70-C44E-BAB7-E9D9143B2E06}"/>
              </a:ext>
            </a:extLst>
          </p:cNvPr>
          <p:cNvSpPr txBox="1"/>
          <p:nvPr/>
        </p:nvSpPr>
        <p:spPr bwMode="gray">
          <a:xfrm>
            <a:off x="2962575" y="4810962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3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000F3FA-C9BF-F247-A3F1-91A59E02CF4E}"/>
              </a:ext>
            </a:extLst>
          </p:cNvPr>
          <p:cNvSpPr txBox="1"/>
          <p:nvPr/>
        </p:nvSpPr>
        <p:spPr bwMode="gray">
          <a:xfrm>
            <a:off x="3601390" y="4940192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0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07A6351-6CF5-3F4A-906D-912361055CBE}"/>
              </a:ext>
            </a:extLst>
          </p:cNvPr>
          <p:cNvSpPr txBox="1"/>
          <p:nvPr/>
        </p:nvSpPr>
        <p:spPr bwMode="gray">
          <a:xfrm>
            <a:off x="4272986" y="4951161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4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DB8E13-B663-6A4E-968F-E9BBF232E4B3}"/>
              </a:ext>
            </a:extLst>
          </p:cNvPr>
          <p:cNvSpPr txBox="1"/>
          <p:nvPr/>
        </p:nvSpPr>
        <p:spPr bwMode="gray">
          <a:xfrm>
            <a:off x="4898131" y="4955332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5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BCDEBFA-D32D-CC4F-8CE4-1CCC54915879}"/>
              </a:ext>
            </a:extLst>
          </p:cNvPr>
          <p:cNvSpPr txBox="1"/>
          <p:nvPr/>
        </p:nvSpPr>
        <p:spPr bwMode="gray">
          <a:xfrm>
            <a:off x="5529162" y="5170307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7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2BC878-FE40-D446-8FD1-E2F775C87149}"/>
              </a:ext>
            </a:extLst>
          </p:cNvPr>
          <p:cNvSpPr txBox="1"/>
          <p:nvPr/>
        </p:nvSpPr>
        <p:spPr bwMode="gray">
          <a:xfrm>
            <a:off x="6179497" y="5249688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53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C02ECA6-1425-444D-9C96-80551D9D74CE}"/>
              </a:ext>
            </a:extLst>
          </p:cNvPr>
          <p:cNvSpPr txBox="1"/>
          <p:nvPr/>
        </p:nvSpPr>
        <p:spPr bwMode="gray">
          <a:xfrm>
            <a:off x="6829922" y="5424675"/>
            <a:ext cx="6183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900" b="1" dirty="0">
                <a:solidFill>
                  <a:schemeClr val="bg1"/>
                </a:solidFill>
              </a:rPr>
              <a:t>44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E77A69-4CD8-BC4E-9082-668FE9E2B2F1}"/>
              </a:ext>
            </a:extLst>
          </p:cNvPr>
          <p:cNvSpPr txBox="1"/>
          <p:nvPr/>
        </p:nvSpPr>
        <p:spPr bwMode="gray">
          <a:xfrm>
            <a:off x="7498279" y="5545580"/>
            <a:ext cx="56130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900" b="1" dirty="0">
                <a:solidFill>
                  <a:schemeClr val="bg1"/>
                </a:solidFill>
              </a:rPr>
              <a:t>27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D44D19B-84C0-A649-B502-252AC876854D}"/>
              </a:ext>
            </a:extLst>
          </p:cNvPr>
          <p:cNvSpPr txBox="1"/>
          <p:nvPr/>
        </p:nvSpPr>
        <p:spPr bwMode="gray">
          <a:xfrm>
            <a:off x="8105282" y="5540902"/>
            <a:ext cx="6306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</a:rPr>
              <a:t>40%</a:t>
            </a:r>
          </a:p>
        </p:txBody>
      </p:sp>
    </p:spTree>
    <p:extLst>
      <p:ext uri="{BB962C8B-B14F-4D97-AF65-F5344CB8AC3E}">
        <p14:creationId xmlns:p14="http://schemas.microsoft.com/office/powerpoint/2010/main" val="1170127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echnical Overview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22FDAC-69C5-AA43-857A-633492D0419C}"/>
              </a:ext>
            </a:extLst>
          </p:cNvPr>
          <p:cNvGrpSpPr/>
          <p:nvPr/>
        </p:nvGrpSpPr>
        <p:grpSpPr>
          <a:xfrm>
            <a:off x="2356696" y="1261450"/>
            <a:ext cx="6091979" cy="1053217"/>
            <a:chOff x="2356696" y="1261450"/>
            <a:chExt cx="6091979" cy="1053217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45B53F0-16DE-2D40-9E86-7DD46071E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79044" y="1261450"/>
              <a:ext cx="999834" cy="1029473"/>
            </a:xfrm>
            <a:prstGeom prst="rect">
              <a:avLst/>
            </a:prstGeom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BB38EB6-89DC-154D-8428-B346F1ADEB67}"/>
                </a:ext>
              </a:extLst>
            </p:cNvPr>
            <p:cNvGrpSpPr/>
            <p:nvPr/>
          </p:nvGrpSpPr>
          <p:grpSpPr>
            <a:xfrm>
              <a:off x="2356696" y="1277237"/>
              <a:ext cx="1041789" cy="1037430"/>
              <a:chOff x="3116423" y="4613228"/>
              <a:chExt cx="1041789" cy="1037430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1ADBDBBB-6273-234D-866A-889B72002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16423" y="4613228"/>
                <a:ext cx="1041789" cy="1037430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3D3F76A-7B85-F74C-B7C8-787E8B47A993}"/>
                  </a:ext>
                </a:extLst>
              </p:cNvPr>
              <p:cNvSpPr txBox="1"/>
              <p:nvPr/>
            </p:nvSpPr>
            <p:spPr bwMode="gray">
              <a:xfrm>
                <a:off x="3289300" y="4973679"/>
                <a:ext cx="6985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dirty="0">
                    <a:solidFill>
                      <a:schemeClr val="bg1"/>
                    </a:solidFill>
                  </a:rPr>
                  <a:t>CPU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AF5158D-8F74-8949-998D-AE45CED9AE54}"/>
                </a:ext>
              </a:extLst>
            </p:cNvPr>
            <p:cNvGrpSpPr/>
            <p:nvPr/>
          </p:nvGrpSpPr>
          <p:grpSpPr>
            <a:xfrm>
              <a:off x="7149042" y="1287236"/>
              <a:ext cx="1299633" cy="977900"/>
              <a:chOff x="6371166" y="4550720"/>
              <a:chExt cx="1299633" cy="977900"/>
            </a:xfrm>
          </p:grpSpPr>
          <p:sp>
            <p:nvSpPr>
              <p:cNvPr id="17" name="Can 16">
                <a:extLst>
                  <a:ext uri="{FF2B5EF4-FFF2-40B4-BE49-F238E27FC236}">
                    <a16:creationId xmlns:a16="http://schemas.microsoft.com/office/drawing/2014/main" id="{2A91AF0A-D48E-5242-9FA5-6064F8AB8387}"/>
                  </a:ext>
                </a:extLst>
              </p:cNvPr>
              <p:cNvSpPr/>
              <p:nvPr/>
            </p:nvSpPr>
            <p:spPr bwMode="gray">
              <a:xfrm>
                <a:off x="6371166" y="4550720"/>
                <a:ext cx="1299633" cy="977900"/>
              </a:xfrm>
              <a:prstGeom prst="can">
                <a:avLst/>
              </a:prstGeom>
              <a:solidFill>
                <a:srgbClr val="339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D50133D-170C-5F4E-8463-05799EFA3812}"/>
                  </a:ext>
                </a:extLst>
              </p:cNvPr>
              <p:cNvSpPr txBox="1"/>
              <p:nvPr/>
            </p:nvSpPr>
            <p:spPr bwMode="gray">
              <a:xfrm>
                <a:off x="6371167" y="4968747"/>
                <a:ext cx="129963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dirty="0">
                    <a:solidFill>
                      <a:schemeClr val="bg1"/>
                    </a:solidFill>
                  </a:rPr>
                  <a:t>STORAGE</a:t>
                </a:r>
              </a:p>
            </p:txBody>
          </p: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DF11BF9-AA3F-0B44-88E9-831E08802DE9}"/>
              </a:ext>
            </a:extLst>
          </p:cNvPr>
          <p:cNvSpPr txBox="1"/>
          <p:nvPr/>
        </p:nvSpPr>
        <p:spPr bwMode="gray">
          <a:xfrm>
            <a:off x="542961" y="3361813"/>
            <a:ext cx="13191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AVG UTIL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C09C5F-7A0C-F442-B803-E456E3E44766}"/>
              </a:ext>
            </a:extLst>
          </p:cNvPr>
          <p:cNvSpPr txBox="1"/>
          <p:nvPr/>
        </p:nvSpPr>
        <p:spPr bwMode="gray">
          <a:xfrm>
            <a:off x="246876" y="3030542"/>
            <a:ext cx="20085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VIRTUAL PROVISION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32B408-5F0F-FC49-A8C1-42F3723D4708}"/>
              </a:ext>
            </a:extLst>
          </p:cNvPr>
          <p:cNvSpPr txBox="1"/>
          <p:nvPr/>
        </p:nvSpPr>
        <p:spPr bwMode="gray">
          <a:xfrm>
            <a:off x="2309822" y="3364692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4.8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755B8E4-740D-654F-96BC-4CB3DAB8A97C}"/>
              </a:ext>
            </a:extLst>
          </p:cNvPr>
          <p:cNvSpPr txBox="1"/>
          <p:nvPr/>
        </p:nvSpPr>
        <p:spPr bwMode="gray">
          <a:xfrm>
            <a:off x="4711193" y="3364692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35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69D30D9-80FA-5846-8D02-4C949F6B80AA}"/>
              </a:ext>
            </a:extLst>
          </p:cNvPr>
          <p:cNvSpPr txBox="1"/>
          <p:nvPr/>
        </p:nvSpPr>
        <p:spPr bwMode="gray">
          <a:xfrm>
            <a:off x="7231090" y="3364692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51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FABC391-3A81-EE40-A3F4-9E9F53C3545D}"/>
              </a:ext>
            </a:extLst>
          </p:cNvPr>
          <p:cNvSpPr txBox="1"/>
          <p:nvPr/>
        </p:nvSpPr>
        <p:spPr bwMode="gray">
          <a:xfrm>
            <a:off x="542961" y="3721240"/>
            <a:ext cx="13191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HEADROO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181166-95C5-6343-8178-2BC6C92E68F5}"/>
              </a:ext>
            </a:extLst>
          </p:cNvPr>
          <p:cNvSpPr txBox="1"/>
          <p:nvPr/>
        </p:nvSpPr>
        <p:spPr bwMode="gray">
          <a:xfrm>
            <a:off x="2309822" y="3721240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55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401C7C-1EEF-534E-809B-B770DCCDFBDE}"/>
              </a:ext>
            </a:extLst>
          </p:cNvPr>
          <p:cNvSpPr txBox="1"/>
          <p:nvPr/>
        </p:nvSpPr>
        <p:spPr bwMode="gray">
          <a:xfrm>
            <a:off x="4711193" y="3721240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34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F18466-5961-BB4B-8569-5F037887A5B0}"/>
              </a:ext>
            </a:extLst>
          </p:cNvPr>
          <p:cNvSpPr txBox="1"/>
          <p:nvPr/>
        </p:nvSpPr>
        <p:spPr bwMode="gray">
          <a:xfrm>
            <a:off x="7072930" y="2979950"/>
            <a:ext cx="141379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4.57 PB (47% Used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74520D-B37F-8C4E-A25B-94D8315E9A8E}"/>
              </a:ext>
            </a:extLst>
          </p:cNvPr>
          <p:cNvSpPr txBox="1"/>
          <p:nvPr/>
        </p:nvSpPr>
        <p:spPr bwMode="gray">
          <a:xfrm>
            <a:off x="2328853" y="3030542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60.96 THz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07A6E0-254C-BB46-AF9C-52F503B3BD2E}"/>
              </a:ext>
            </a:extLst>
          </p:cNvPr>
          <p:cNvSpPr txBox="1"/>
          <p:nvPr/>
        </p:nvSpPr>
        <p:spPr bwMode="gray">
          <a:xfrm>
            <a:off x="4317427" y="3030542"/>
            <a:ext cx="19230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 115.53 TB (43% Used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83B8D7-F284-D14A-BDF6-FA91D5DE222E}"/>
              </a:ext>
            </a:extLst>
          </p:cNvPr>
          <p:cNvSpPr txBox="1"/>
          <p:nvPr/>
        </p:nvSpPr>
        <p:spPr bwMode="gray">
          <a:xfrm>
            <a:off x="7231090" y="3721240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49%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A95C4CB-4858-074F-AA51-CF6948E612A0}"/>
              </a:ext>
            </a:extLst>
          </p:cNvPr>
          <p:cNvCxnSpPr/>
          <p:nvPr/>
        </p:nvCxnSpPr>
        <p:spPr bwMode="gray">
          <a:xfrm>
            <a:off x="2455332" y="3272882"/>
            <a:ext cx="5960005" cy="0"/>
          </a:xfrm>
          <a:prstGeom prst="line">
            <a:avLst/>
          </a:prstGeom>
          <a:ln w="190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BBD4F97-A346-554B-B1F9-FC956C5FC5E0}"/>
              </a:ext>
            </a:extLst>
          </p:cNvPr>
          <p:cNvCxnSpPr/>
          <p:nvPr/>
        </p:nvCxnSpPr>
        <p:spPr bwMode="gray">
          <a:xfrm>
            <a:off x="2455332" y="3625492"/>
            <a:ext cx="5960005" cy="0"/>
          </a:xfrm>
          <a:prstGeom prst="line">
            <a:avLst/>
          </a:prstGeom>
          <a:ln w="190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624E8EA-5389-904B-AE16-E98A441C05A2}"/>
              </a:ext>
            </a:extLst>
          </p:cNvPr>
          <p:cNvSpPr txBox="1"/>
          <p:nvPr/>
        </p:nvSpPr>
        <p:spPr bwMode="gray">
          <a:xfrm>
            <a:off x="323987" y="2642961"/>
            <a:ext cx="17961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PHYSICAL ALLOCAT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BE764A-AF0D-FB46-8A5D-2EECF04B0A1C}"/>
              </a:ext>
            </a:extLst>
          </p:cNvPr>
          <p:cNvSpPr txBox="1"/>
          <p:nvPr/>
        </p:nvSpPr>
        <p:spPr bwMode="gray">
          <a:xfrm>
            <a:off x="7062636" y="2643001"/>
            <a:ext cx="14724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5.78 PB (54% Used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84DCEF2-4D98-3E43-BC55-2781C895824D}"/>
              </a:ext>
            </a:extLst>
          </p:cNvPr>
          <p:cNvSpPr txBox="1"/>
          <p:nvPr/>
        </p:nvSpPr>
        <p:spPr bwMode="gray">
          <a:xfrm>
            <a:off x="2328854" y="2633690"/>
            <a:ext cx="1097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30.87 THz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6AE4FB3-BA9E-8941-9539-5E8795527CD9}"/>
              </a:ext>
            </a:extLst>
          </p:cNvPr>
          <p:cNvSpPr txBox="1"/>
          <p:nvPr/>
        </p:nvSpPr>
        <p:spPr bwMode="gray">
          <a:xfrm>
            <a:off x="4424820" y="2630268"/>
            <a:ext cx="17082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/>
              <a:t> 204.11 TB (36% Used)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403EC63-CAAB-C24F-A350-EB465E98CA90}"/>
              </a:ext>
            </a:extLst>
          </p:cNvPr>
          <p:cNvCxnSpPr/>
          <p:nvPr/>
        </p:nvCxnSpPr>
        <p:spPr bwMode="gray">
          <a:xfrm>
            <a:off x="2455333" y="2878429"/>
            <a:ext cx="5960005" cy="0"/>
          </a:xfrm>
          <a:prstGeom prst="line">
            <a:avLst/>
          </a:prstGeom>
          <a:ln w="190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4147B49A-2642-3F4C-B59B-C1EA714B4DB4}"/>
              </a:ext>
            </a:extLst>
          </p:cNvPr>
          <p:cNvGrpSpPr/>
          <p:nvPr/>
        </p:nvGrpSpPr>
        <p:grpSpPr>
          <a:xfrm>
            <a:off x="1041108" y="3985692"/>
            <a:ext cx="7147507" cy="2502724"/>
            <a:chOff x="323987" y="3933342"/>
            <a:chExt cx="7147507" cy="250272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E719754-7DDD-1B4D-ABB8-82BD3C2DC75F}"/>
                </a:ext>
              </a:extLst>
            </p:cNvPr>
            <p:cNvSpPr/>
            <p:nvPr/>
          </p:nvSpPr>
          <p:spPr bwMode="gray">
            <a:xfrm>
              <a:off x="323987" y="4011683"/>
              <a:ext cx="1538081" cy="13741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13 CDOs Inventoried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1DBB29E-3693-864C-8C31-A77A7E8D3CE5}"/>
                </a:ext>
              </a:extLst>
            </p:cNvPr>
            <p:cNvSpPr/>
            <p:nvPr/>
          </p:nvSpPr>
          <p:spPr bwMode="gray">
            <a:xfrm>
              <a:off x="1862068" y="4940815"/>
              <a:ext cx="1583186" cy="144433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~6,500 Virtual Servers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4D83C1C-E517-6E41-B1ED-74AA1FCD5FC9}"/>
                </a:ext>
              </a:extLst>
            </p:cNvPr>
            <p:cNvSpPr/>
            <p:nvPr/>
          </p:nvSpPr>
          <p:spPr bwMode="gray">
            <a:xfrm>
              <a:off x="4522742" y="5094676"/>
              <a:ext cx="1474376" cy="13413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~21,500 SQL Databases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AA9843C-8E11-8144-86AA-028CD1B09F9C}"/>
                </a:ext>
              </a:extLst>
            </p:cNvPr>
            <p:cNvSpPr/>
            <p:nvPr/>
          </p:nvSpPr>
          <p:spPr bwMode="gray">
            <a:xfrm>
              <a:off x="3298749" y="3933342"/>
              <a:ext cx="1405527" cy="13413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~1,100 Physical</a:t>
              </a:r>
            </a:p>
            <a:p>
              <a:pPr algn="ctr"/>
              <a:r>
                <a:rPr lang="en-US" sz="1400" dirty="0"/>
                <a:t>Servers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44B4996-9547-E346-9F79-F2FE7F147AA4}"/>
                </a:ext>
              </a:extLst>
            </p:cNvPr>
            <p:cNvSpPr/>
            <p:nvPr/>
          </p:nvSpPr>
          <p:spPr bwMode="gray">
            <a:xfrm>
              <a:off x="5997118" y="4013279"/>
              <a:ext cx="1474376" cy="13413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/>
                <a:t>Data Collected Between 11/26/19 and 03/06/2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07298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007669-311C-8740-A466-856CBE3228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408" y="1481667"/>
            <a:ext cx="8484055" cy="4761354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hysical RAM Provisioned and Average Utilization by CD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D3D64F-0BDA-8C4B-94B5-4CD6F8EA4A4E}"/>
              </a:ext>
            </a:extLst>
          </p:cNvPr>
          <p:cNvSpPr txBox="1"/>
          <p:nvPr/>
        </p:nvSpPr>
        <p:spPr bwMode="gray">
          <a:xfrm>
            <a:off x="1043538" y="1735357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30 T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EAEFE9-DBC4-6E4E-B018-3643C4E6442C}"/>
              </a:ext>
            </a:extLst>
          </p:cNvPr>
          <p:cNvSpPr txBox="1"/>
          <p:nvPr/>
        </p:nvSpPr>
        <p:spPr bwMode="gray">
          <a:xfrm>
            <a:off x="1716902" y="4809172"/>
            <a:ext cx="58177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3 TB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29DE31-0D88-F540-AAA7-E5ADE2565C65}"/>
              </a:ext>
            </a:extLst>
          </p:cNvPr>
          <p:cNvSpPr txBox="1"/>
          <p:nvPr/>
        </p:nvSpPr>
        <p:spPr bwMode="gray">
          <a:xfrm>
            <a:off x="2349482" y="4909749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9 TB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646933-4350-994D-A505-A86427DF2308}"/>
              </a:ext>
            </a:extLst>
          </p:cNvPr>
          <p:cNvSpPr txBox="1"/>
          <p:nvPr/>
        </p:nvSpPr>
        <p:spPr bwMode="gray">
          <a:xfrm>
            <a:off x="3013383" y="5420559"/>
            <a:ext cx="5686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8 TB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1DDEDA-068F-A540-ADE5-1ED11518819C}"/>
              </a:ext>
            </a:extLst>
          </p:cNvPr>
          <p:cNvSpPr txBox="1"/>
          <p:nvPr/>
        </p:nvSpPr>
        <p:spPr bwMode="gray">
          <a:xfrm>
            <a:off x="3652198" y="5498989"/>
            <a:ext cx="598067" cy="161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 TB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113A7E-207F-924C-95C8-799CA3AA7832}"/>
              </a:ext>
            </a:extLst>
          </p:cNvPr>
          <p:cNvSpPr txBox="1"/>
          <p:nvPr/>
        </p:nvSpPr>
        <p:spPr bwMode="gray">
          <a:xfrm>
            <a:off x="4323794" y="5501492"/>
            <a:ext cx="53383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 TB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3B269D-D155-394C-BAE7-DC12953B7718}"/>
              </a:ext>
            </a:extLst>
          </p:cNvPr>
          <p:cNvSpPr txBox="1"/>
          <p:nvPr/>
        </p:nvSpPr>
        <p:spPr bwMode="gray">
          <a:xfrm>
            <a:off x="4948939" y="5581866"/>
            <a:ext cx="5798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2 T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24F0BA-9E41-5940-ACC0-C03963BBAD18}"/>
              </a:ext>
            </a:extLst>
          </p:cNvPr>
          <p:cNvSpPr txBox="1"/>
          <p:nvPr/>
        </p:nvSpPr>
        <p:spPr bwMode="gray">
          <a:xfrm>
            <a:off x="5579970" y="5627504"/>
            <a:ext cx="61898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1.4 T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CE567CB-D8F2-3944-A7D4-8D7576A8DD93}"/>
              </a:ext>
            </a:extLst>
          </p:cNvPr>
          <p:cNvSpPr txBox="1"/>
          <p:nvPr/>
        </p:nvSpPr>
        <p:spPr bwMode="gray">
          <a:xfrm>
            <a:off x="6230305" y="5681484"/>
            <a:ext cx="58665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842 GB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704859-C5F1-7443-8ED8-414DC5D685A7}"/>
              </a:ext>
            </a:extLst>
          </p:cNvPr>
          <p:cNvSpPr txBox="1"/>
          <p:nvPr/>
        </p:nvSpPr>
        <p:spPr bwMode="gray">
          <a:xfrm>
            <a:off x="6846855" y="5811060"/>
            <a:ext cx="61836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*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5D3686-050E-534C-A7C7-8AA2FE201DED}"/>
              </a:ext>
            </a:extLst>
          </p:cNvPr>
          <p:cNvSpPr txBox="1"/>
          <p:nvPr/>
        </p:nvSpPr>
        <p:spPr bwMode="gray">
          <a:xfrm>
            <a:off x="7532153" y="5791110"/>
            <a:ext cx="5613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7ECB8B9-533D-114C-ADC8-E49909A8A9C2}"/>
              </a:ext>
            </a:extLst>
          </p:cNvPr>
          <p:cNvSpPr txBox="1"/>
          <p:nvPr/>
        </p:nvSpPr>
        <p:spPr bwMode="gray">
          <a:xfrm>
            <a:off x="8130689" y="5803366"/>
            <a:ext cx="6306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100" b="1" dirty="0"/>
              <a:t>*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54E908-A326-2D4C-A55B-C345879D5679}"/>
              </a:ext>
            </a:extLst>
          </p:cNvPr>
          <p:cNvSpPr txBox="1"/>
          <p:nvPr/>
        </p:nvSpPr>
        <p:spPr bwMode="gray">
          <a:xfrm>
            <a:off x="1026598" y="1913158"/>
            <a:ext cx="66489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B3A4CC1-8AB4-5042-9718-65FECCE09481}"/>
              </a:ext>
            </a:extLst>
          </p:cNvPr>
          <p:cNvSpPr txBox="1"/>
          <p:nvPr/>
        </p:nvSpPr>
        <p:spPr bwMode="gray">
          <a:xfrm>
            <a:off x="1699962" y="4986973"/>
            <a:ext cx="58177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6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C55C697-3580-4347-A5EE-B92BD18A4F92}"/>
              </a:ext>
            </a:extLst>
          </p:cNvPr>
          <p:cNvSpPr txBox="1"/>
          <p:nvPr/>
        </p:nvSpPr>
        <p:spPr bwMode="gray">
          <a:xfrm>
            <a:off x="2332542" y="5087550"/>
            <a:ext cx="62394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1E75C11-BE70-C44E-BAB7-E9D9143B2E06}"/>
              </a:ext>
            </a:extLst>
          </p:cNvPr>
          <p:cNvSpPr txBox="1"/>
          <p:nvPr/>
        </p:nvSpPr>
        <p:spPr bwMode="gray">
          <a:xfrm>
            <a:off x="3112066" y="5626500"/>
            <a:ext cx="322490" cy="164610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1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000F3FA-C9BF-F247-A3F1-91A59E02CF4E}"/>
              </a:ext>
            </a:extLst>
          </p:cNvPr>
          <p:cNvSpPr txBox="1"/>
          <p:nvPr/>
        </p:nvSpPr>
        <p:spPr bwMode="gray">
          <a:xfrm>
            <a:off x="3770724" y="5702189"/>
            <a:ext cx="310209" cy="161583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25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07A6351-6CF5-3F4A-906D-912361055CBE}"/>
              </a:ext>
            </a:extLst>
          </p:cNvPr>
          <p:cNvSpPr txBox="1"/>
          <p:nvPr/>
        </p:nvSpPr>
        <p:spPr bwMode="gray">
          <a:xfrm>
            <a:off x="4410293" y="5730095"/>
            <a:ext cx="326799" cy="161583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40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DB8E13-B663-6A4E-968F-E9BBF232E4B3}"/>
              </a:ext>
            </a:extLst>
          </p:cNvPr>
          <p:cNvSpPr txBox="1"/>
          <p:nvPr/>
        </p:nvSpPr>
        <p:spPr bwMode="gray">
          <a:xfrm>
            <a:off x="5058003" y="5776126"/>
            <a:ext cx="318331" cy="161583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6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BCDEBFA-D32D-CC4F-8CE4-1CCC54915879}"/>
              </a:ext>
            </a:extLst>
          </p:cNvPr>
          <p:cNvSpPr txBox="1"/>
          <p:nvPr/>
        </p:nvSpPr>
        <p:spPr bwMode="gray">
          <a:xfrm>
            <a:off x="5706534" y="5805305"/>
            <a:ext cx="304800" cy="161583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2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2BC878-FE40-D446-8FD1-E2F775C87149}"/>
              </a:ext>
            </a:extLst>
          </p:cNvPr>
          <p:cNvSpPr txBox="1"/>
          <p:nvPr/>
        </p:nvSpPr>
        <p:spPr bwMode="gray">
          <a:xfrm>
            <a:off x="6341533" y="5859285"/>
            <a:ext cx="384993" cy="161583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>
                <a:solidFill>
                  <a:schemeClr val="bg1"/>
                </a:solidFill>
              </a:rPr>
              <a:t>32%</a:t>
            </a:r>
          </a:p>
        </p:txBody>
      </p:sp>
    </p:spTree>
    <p:extLst>
      <p:ext uri="{BB962C8B-B14F-4D97-AF65-F5344CB8AC3E}">
        <p14:creationId xmlns:p14="http://schemas.microsoft.com/office/powerpoint/2010/main" val="17323326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90E999-B268-874C-AC6D-A599745B40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75" y="1115123"/>
            <a:ext cx="8484054" cy="5111622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-1"/>
            <a:ext cx="8486775" cy="1115123"/>
          </a:xfrm>
        </p:spPr>
        <p:txBody>
          <a:bodyPr/>
          <a:lstStyle/>
          <a:p>
            <a:r>
              <a:rPr lang="en-US" sz="2400" dirty="0"/>
              <a:t>Virtual Storage Provisioned and Usage by CDO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1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A57105-C639-2443-97CD-38818E4D5A9C}"/>
              </a:ext>
            </a:extLst>
          </p:cNvPr>
          <p:cNvSpPr txBox="1"/>
          <p:nvPr/>
        </p:nvSpPr>
        <p:spPr bwMode="gray">
          <a:xfrm>
            <a:off x="1623056" y="1736451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52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04013C-7D3C-3147-8F3F-B973927EFC76}"/>
              </a:ext>
            </a:extLst>
          </p:cNvPr>
          <p:cNvSpPr txBox="1"/>
          <p:nvPr/>
        </p:nvSpPr>
        <p:spPr bwMode="gray">
          <a:xfrm>
            <a:off x="944692" y="163237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7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BDFA97-3CAD-A54B-B634-8B75D0BB4E64}"/>
              </a:ext>
            </a:extLst>
          </p:cNvPr>
          <p:cNvSpPr txBox="1"/>
          <p:nvPr/>
        </p:nvSpPr>
        <p:spPr bwMode="gray">
          <a:xfrm>
            <a:off x="2272912" y="445110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6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6C2FA7-6D8E-E949-883C-26D4A2D3D366}"/>
              </a:ext>
            </a:extLst>
          </p:cNvPr>
          <p:cNvSpPr txBox="1"/>
          <p:nvPr/>
        </p:nvSpPr>
        <p:spPr bwMode="gray">
          <a:xfrm>
            <a:off x="3605942" y="4910070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7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4013AE-423C-7B44-BCF2-7F9466C559B1}"/>
              </a:ext>
            </a:extLst>
          </p:cNvPr>
          <p:cNvSpPr txBox="1"/>
          <p:nvPr/>
        </p:nvSpPr>
        <p:spPr bwMode="gray">
          <a:xfrm>
            <a:off x="2938586" y="4547747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2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1D0B0D-C089-E240-9621-2EE2CC0F8109}"/>
              </a:ext>
            </a:extLst>
          </p:cNvPr>
          <p:cNvSpPr txBox="1"/>
          <p:nvPr/>
        </p:nvSpPr>
        <p:spPr bwMode="gray">
          <a:xfrm>
            <a:off x="4934678" y="5183947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55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7436B4-3A94-BE44-A16A-CFFC4E18F227}"/>
              </a:ext>
            </a:extLst>
          </p:cNvPr>
          <p:cNvSpPr txBox="1"/>
          <p:nvPr/>
        </p:nvSpPr>
        <p:spPr bwMode="gray">
          <a:xfrm>
            <a:off x="4256164" y="5054160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2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8E8572-1AE5-8246-998E-74A9FC407BCF}"/>
              </a:ext>
            </a:extLst>
          </p:cNvPr>
          <p:cNvSpPr txBox="1"/>
          <p:nvPr/>
        </p:nvSpPr>
        <p:spPr bwMode="gray">
          <a:xfrm>
            <a:off x="6914675" y="5315773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3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2A9578-8AAB-0A46-ACC6-A4472E581B6D}"/>
              </a:ext>
            </a:extLst>
          </p:cNvPr>
          <p:cNvSpPr txBox="1"/>
          <p:nvPr/>
        </p:nvSpPr>
        <p:spPr bwMode="gray">
          <a:xfrm>
            <a:off x="6254636" y="529818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1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054B17-4986-374C-8524-E7CAD79C8009}"/>
              </a:ext>
            </a:extLst>
          </p:cNvPr>
          <p:cNvSpPr txBox="1"/>
          <p:nvPr/>
        </p:nvSpPr>
        <p:spPr bwMode="gray">
          <a:xfrm>
            <a:off x="5592666" y="5264738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7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A86B5E-56E3-F34B-8CC4-C6527735752E}"/>
              </a:ext>
            </a:extLst>
          </p:cNvPr>
          <p:cNvSpPr txBox="1"/>
          <p:nvPr/>
        </p:nvSpPr>
        <p:spPr bwMode="gray">
          <a:xfrm>
            <a:off x="7590936" y="5409737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59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AFCF2F-F951-464E-BD08-F4D9E4D4F5B4}"/>
              </a:ext>
            </a:extLst>
          </p:cNvPr>
          <p:cNvSpPr txBox="1"/>
          <p:nvPr/>
        </p:nvSpPr>
        <p:spPr bwMode="gray">
          <a:xfrm>
            <a:off x="8246252" y="5521587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7%</a:t>
            </a:r>
          </a:p>
        </p:txBody>
      </p:sp>
    </p:spTree>
    <p:extLst>
      <p:ext uri="{BB962C8B-B14F-4D97-AF65-F5344CB8AC3E}">
        <p14:creationId xmlns:p14="http://schemas.microsoft.com/office/powerpoint/2010/main" val="32421079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914F269-029D-0B49-8D8A-F3E43AFFCB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74" y="1141371"/>
            <a:ext cx="8484055" cy="5047765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4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-1"/>
            <a:ext cx="8486775" cy="1115123"/>
          </a:xfrm>
        </p:spPr>
        <p:txBody>
          <a:bodyPr/>
          <a:lstStyle/>
          <a:p>
            <a:r>
              <a:rPr lang="en-US" sz="2400" dirty="0"/>
              <a:t>Physical Storage Provisioned and Usage by CDO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2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A57105-C639-2443-97CD-38818E4D5A9C}"/>
              </a:ext>
            </a:extLst>
          </p:cNvPr>
          <p:cNvSpPr txBox="1"/>
          <p:nvPr/>
        </p:nvSpPr>
        <p:spPr bwMode="gray">
          <a:xfrm>
            <a:off x="1699260" y="311570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9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04013C-7D3C-3147-8F3F-B973927EFC76}"/>
              </a:ext>
            </a:extLst>
          </p:cNvPr>
          <p:cNvSpPr txBox="1"/>
          <p:nvPr/>
        </p:nvSpPr>
        <p:spPr bwMode="gray">
          <a:xfrm>
            <a:off x="1003959" y="185251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4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BDFA97-3CAD-A54B-B634-8B75D0BB4E64}"/>
              </a:ext>
            </a:extLst>
          </p:cNvPr>
          <p:cNvSpPr txBox="1"/>
          <p:nvPr/>
        </p:nvSpPr>
        <p:spPr bwMode="gray">
          <a:xfrm>
            <a:off x="2340646" y="425637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6C2FA7-6D8E-E949-883C-26D4A2D3D366}"/>
              </a:ext>
            </a:extLst>
          </p:cNvPr>
          <p:cNvSpPr txBox="1"/>
          <p:nvPr/>
        </p:nvSpPr>
        <p:spPr bwMode="gray">
          <a:xfrm>
            <a:off x="3656743" y="5096344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62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4013AE-423C-7B44-BCF2-7F9466C559B1}"/>
              </a:ext>
            </a:extLst>
          </p:cNvPr>
          <p:cNvSpPr txBox="1"/>
          <p:nvPr/>
        </p:nvSpPr>
        <p:spPr bwMode="gray">
          <a:xfrm>
            <a:off x="2997852" y="4930882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4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1D0B0D-C089-E240-9621-2EE2CC0F8109}"/>
              </a:ext>
            </a:extLst>
          </p:cNvPr>
          <p:cNvSpPr txBox="1"/>
          <p:nvPr/>
        </p:nvSpPr>
        <p:spPr bwMode="gray">
          <a:xfrm>
            <a:off x="4968546" y="5522621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7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7436B4-3A94-BE44-A16A-CFFC4E18F227}"/>
              </a:ext>
            </a:extLst>
          </p:cNvPr>
          <p:cNvSpPr txBox="1"/>
          <p:nvPr/>
        </p:nvSpPr>
        <p:spPr bwMode="gray">
          <a:xfrm>
            <a:off x="4315433" y="5435169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77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8E8572-1AE5-8246-998E-74A9FC407BCF}"/>
              </a:ext>
            </a:extLst>
          </p:cNvPr>
          <p:cNvSpPr txBox="1"/>
          <p:nvPr/>
        </p:nvSpPr>
        <p:spPr bwMode="gray">
          <a:xfrm>
            <a:off x="6914675" y="5578245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42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2A9578-8AAB-0A46-ACC6-A4472E581B6D}"/>
              </a:ext>
            </a:extLst>
          </p:cNvPr>
          <p:cNvSpPr txBox="1"/>
          <p:nvPr/>
        </p:nvSpPr>
        <p:spPr bwMode="gray">
          <a:xfrm>
            <a:off x="6313865" y="5581543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5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054B17-4986-374C-8524-E7CAD79C8009}"/>
              </a:ext>
            </a:extLst>
          </p:cNvPr>
          <p:cNvSpPr txBox="1"/>
          <p:nvPr/>
        </p:nvSpPr>
        <p:spPr bwMode="gray">
          <a:xfrm>
            <a:off x="5626534" y="5535676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39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A86B5E-56E3-F34B-8CC4-C6527735752E}"/>
              </a:ext>
            </a:extLst>
          </p:cNvPr>
          <p:cNvSpPr txBox="1"/>
          <p:nvPr/>
        </p:nvSpPr>
        <p:spPr bwMode="gray">
          <a:xfrm>
            <a:off x="7636975" y="5618021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AFCF2F-F951-464E-BD08-F4D9E4D4F5B4}"/>
              </a:ext>
            </a:extLst>
          </p:cNvPr>
          <p:cNvSpPr txBox="1"/>
          <p:nvPr/>
        </p:nvSpPr>
        <p:spPr bwMode="gray">
          <a:xfrm>
            <a:off x="8246252" y="5614724"/>
            <a:ext cx="381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50" b="1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9049979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op Processor Model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3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D1D110-2E71-704E-8224-032560713F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1475" y="1172302"/>
            <a:ext cx="8484054" cy="510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0743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Virtual Operating System Coun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4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9986ED-A9A5-7345-972F-53CBEF9C9F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92780"/>
            <a:ext cx="9144000" cy="423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3456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hysical Operating System Coun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5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FFDA87-81A9-F64D-9822-B9D633BAC3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1474" y="1185333"/>
            <a:ext cx="8484055" cy="447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771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akeaway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5618" y="856793"/>
            <a:ext cx="8228013" cy="521017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6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Footer Placeholder 2"/>
          <p:cNvSpPr txBox="1">
            <a:spLocks/>
          </p:cNvSpPr>
          <p:nvPr/>
        </p:nvSpPr>
        <p:spPr bwMode="gray">
          <a:xfrm>
            <a:off x="1889760" y="6486983"/>
            <a:ext cx="652557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5565A">
                    <a:tint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© 2019 Optum, Inc. All rights reserved. Confidential property of Optum. Do not distribute or reproduce without express permission from Optum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5565A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686351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pporting Files and</a:t>
            </a:r>
          </a:p>
          <a:p>
            <a:r>
              <a:rPr lang="en-US" dirty="0"/>
              <a:t>Additional Information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2617788" y="6486525"/>
            <a:ext cx="6526212" cy="365125"/>
          </a:xfrm>
        </p:spPr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7600" y="6486525"/>
            <a:ext cx="406400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7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6144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upporting Fi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0A5EF5-1C5B-624B-9477-C983F5738A34}"/>
              </a:ext>
            </a:extLst>
          </p:cNvPr>
          <p:cNvSpPr txBox="1"/>
          <p:nvPr/>
        </p:nvSpPr>
        <p:spPr bwMode="gray">
          <a:xfrm>
            <a:off x="371474" y="1278467"/>
            <a:ext cx="4429125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err="1"/>
              <a:t>Movere</a:t>
            </a:r>
            <a:r>
              <a:rPr lang="en-US" sz="1400" dirty="0"/>
              <a:t> Tracking </a:t>
            </a:r>
            <a:r>
              <a:rPr lang="en-US" sz="1400" dirty="0">
                <a:hlinkClick r:id="rId7"/>
              </a:rPr>
              <a:t>Spreadsheet</a:t>
            </a:r>
            <a:endParaRPr lang="en-US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hlinkClick r:id="rId8"/>
              </a:rPr>
              <a:t>Tableau Workbook</a:t>
            </a:r>
            <a:endParaRPr lang="en-US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err="1"/>
              <a:t>Movere</a:t>
            </a:r>
            <a:r>
              <a:rPr lang="en-US" sz="1400" dirty="0"/>
              <a:t> data </a:t>
            </a:r>
            <a:r>
              <a:rPr lang="en-US" sz="1400" dirty="0">
                <a:hlinkClick r:id="rId9"/>
              </a:rPr>
              <a:t>extract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921384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gin of Error Examp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9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0FB9BC-31B3-8440-9766-8A8D673492BB}"/>
              </a:ext>
            </a:extLst>
          </p:cNvPr>
          <p:cNvSpPr txBox="1"/>
          <p:nvPr/>
        </p:nvSpPr>
        <p:spPr bwMode="gray">
          <a:xfrm>
            <a:off x="292607" y="2724912"/>
            <a:ext cx="856292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b="1" dirty="0"/>
              <a:t>In this example for DMG, </a:t>
            </a:r>
            <a:r>
              <a:rPr lang="en-US" sz="1400" b="1" dirty="0" err="1"/>
              <a:t>Movere</a:t>
            </a:r>
            <a:r>
              <a:rPr lang="en-US" sz="1400" b="1" dirty="0"/>
              <a:t> shows higher counts for Physical RAM but lower counts in every other category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b="1" dirty="0"/>
              <a:t>A comparison of ratios shows some similarities, but the per VM storage and physical RAM ratios are not relative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b="1" dirty="0"/>
              <a:t>Conclusion: </a:t>
            </a:r>
            <a:r>
              <a:rPr lang="en-US" sz="1400" b="1" dirty="0" err="1"/>
              <a:t>Movere</a:t>
            </a:r>
            <a:r>
              <a:rPr lang="en-US" sz="1400" b="1" dirty="0"/>
              <a:t> is a useful tool but does not capture all environment information accurately. This could be due to analysis exclusions during </a:t>
            </a:r>
            <a:r>
              <a:rPr lang="en-US" sz="1400" b="1" dirty="0" err="1"/>
              <a:t>Movere</a:t>
            </a:r>
            <a:r>
              <a:rPr lang="en-US" sz="1400" b="1" dirty="0"/>
              <a:t> installation, configuration problems, or other scanning anomalies. More internal data collection is needed to get a complete picture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0B307F5-EB55-5A42-8780-D21CBD6F1092}"/>
              </a:ext>
            </a:extLst>
          </p:cNvPr>
          <p:cNvCxnSpPr/>
          <p:nvPr/>
        </p:nvCxnSpPr>
        <p:spPr bwMode="gray">
          <a:xfrm>
            <a:off x="292607" y="4380672"/>
            <a:ext cx="8631937" cy="0"/>
          </a:xfrm>
          <a:prstGeom prst="line">
            <a:avLst/>
          </a:prstGeom>
          <a:ln w="190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E773D8AC-8098-9749-BD1D-AC5679885D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258" y="1292068"/>
            <a:ext cx="8562922" cy="118192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CC7E9A2-DE6E-024E-8D8B-718B1FB68C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2607" y="5058238"/>
            <a:ext cx="8631938" cy="978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888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026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Movere</a:t>
            </a:r>
            <a:r>
              <a:rPr lang="en-US" sz="2400" dirty="0"/>
              <a:t> Analysi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9915F3-6EBD-1A45-B28F-5B22951320E1}"/>
              </a:ext>
            </a:extLst>
          </p:cNvPr>
          <p:cNvSpPr txBox="1"/>
          <p:nvPr/>
        </p:nvSpPr>
        <p:spPr>
          <a:xfrm>
            <a:off x="371475" y="1599499"/>
            <a:ext cx="8279267" cy="258532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Numbers included are directly from the </a:t>
            </a:r>
            <a:r>
              <a:rPr lang="en-US" dirty="0" err="1"/>
              <a:t>Movere</a:t>
            </a:r>
            <a:r>
              <a:rPr lang="en-US" dirty="0"/>
              <a:t> portal extracts and have been minimally cleaned/normalized for analysis. Analysis was performed using both Excel and Tableau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This analysis represents a portion of each CDO’s environment. Some servers may have been excluded due to existing/ongoing incidents and/or concerns over performance degradation, and these exclusions will skew certain numbers (e.g. Physical CPU and RAM Provisioned)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More internal analysis needs to be conducted to validate </a:t>
            </a:r>
            <a:r>
              <a:rPr lang="en-US" dirty="0" err="1"/>
              <a:t>Movere</a:t>
            </a:r>
            <a:r>
              <a:rPr lang="en-US" dirty="0"/>
              <a:t> data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516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torage Data Collection Layer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AF5158D-8F74-8949-998D-AE45CED9AE54}"/>
              </a:ext>
            </a:extLst>
          </p:cNvPr>
          <p:cNvGrpSpPr/>
          <p:nvPr/>
        </p:nvGrpSpPr>
        <p:grpSpPr>
          <a:xfrm>
            <a:off x="371475" y="5171692"/>
            <a:ext cx="8484054" cy="977900"/>
            <a:chOff x="6371166" y="4550720"/>
            <a:chExt cx="1299633" cy="977900"/>
          </a:xfrm>
          <a:solidFill>
            <a:srgbClr val="0070C0"/>
          </a:solidFill>
        </p:grpSpPr>
        <p:sp>
          <p:nvSpPr>
            <p:cNvPr id="17" name="Can 16">
              <a:extLst>
                <a:ext uri="{FF2B5EF4-FFF2-40B4-BE49-F238E27FC236}">
                  <a16:creationId xmlns:a16="http://schemas.microsoft.com/office/drawing/2014/main" id="{2A91AF0A-D48E-5242-9FA5-6064F8AB8387}"/>
                </a:ext>
              </a:extLst>
            </p:cNvPr>
            <p:cNvSpPr/>
            <p:nvPr/>
          </p:nvSpPr>
          <p:spPr bwMode="gray">
            <a:xfrm>
              <a:off x="6371166" y="4550720"/>
              <a:ext cx="1299633" cy="977900"/>
            </a:xfrm>
            <a:prstGeom prst="ca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D50133D-170C-5F4E-8463-05799EFA3812}"/>
                </a:ext>
              </a:extLst>
            </p:cNvPr>
            <p:cNvSpPr txBox="1"/>
            <p:nvPr/>
          </p:nvSpPr>
          <p:spPr bwMode="gray">
            <a:xfrm>
              <a:off x="6371167" y="4968747"/>
              <a:ext cx="1299632" cy="523220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dirty="0">
                  <a:solidFill>
                    <a:schemeClr val="bg1"/>
                  </a:solidFill>
                </a:rPr>
                <a:t>PHYSICAL LAYER </a:t>
              </a:r>
            </a:p>
            <a:p>
              <a:pPr algn="ctr">
                <a:spcBef>
                  <a:spcPts val="600"/>
                </a:spcBef>
              </a:pPr>
              <a:r>
                <a:rPr lang="en-US" sz="1100" dirty="0">
                  <a:solidFill>
                    <a:schemeClr val="bg1"/>
                  </a:solidFill>
                </a:rPr>
                <a:t>(RAW STORAGE, SAN FABRIC, STORAGE INFRASTRUCTURE, CABLES, etc.)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Can 43">
            <a:extLst>
              <a:ext uri="{FF2B5EF4-FFF2-40B4-BE49-F238E27FC236}">
                <a16:creationId xmlns:a16="http://schemas.microsoft.com/office/drawing/2014/main" id="{9337F167-95CD-704B-86FB-C36301E29C7F}"/>
              </a:ext>
            </a:extLst>
          </p:cNvPr>
          <p:cNvSpPr/>
          <p:nvPr/>
        </p:nvSpPr>
        <p:spPr bwMode="gray">
          <a:xfrm>
            <a:off x="2404872" y="2785727"/>
            <a:ext cx="5939382" cy="1076117"/>
          </a:xfrm>
          <a:prstGeom prst="ca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ERVER/HYPERVISOR LAYER</a:t>
            </a:r>
          </a:p>
          <a:p>
            <a:pPr algn="ctr"/>
            <a:r>
              <a:rPr lang="en-US" sz="1100" dirty="0"/>
              <a:t>(iSCSI/</a:t>
            </a:r>
            <a:r>
              <a:rPr lang="en-US" sz="1100" dirty="0" err="1"/>
              <a:t>FCoE</a:t>
            </a:r>
            <a:r>
              <a:rPr lang="en-US" sz="1100" dirty="0"/>
              <a:t>/FC PROTOCOLS,  DRIVE LETTER ASSIGNMENTS, PRESENTATION, etc.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15F6912-C2B5-4141-8C69-A8D1F8305056}"/>
              </a:ext>
            </a:extLst>
          </p:cNvPr>
          <p:cNvSpPr txBox="1"/>
          <p:nvPr/>
        </p:nvSpPr>
        <p:spPr bwMode="gray">
          <a:xfrm>
            <a:off x="571858" y="4719529"/>
            <a:ext cx="8083289" cy="3693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6" name="Can 45">
            <a:extLst>
              <a:ext uri="{FF2B5EF4-FFF2-40B4-BE49-F238E27FC236}">
                <a16:creationId xmlns:a16="http://schemas.microsoft.com/office/drawing/2014/main" id="{DC86B582-622F-614F-98B8-EA9A53D168CE}"/>
              </a:ext>
            </a:extLst>
          </p:cNvPr>
          <p:cNvSpPr/>
          <p:nvPr/>
        </p:nvSpPr>
        <p:spPr bwMode="gray">
          <a:xfrm>
            <a:off x="580999" y="3944652"/>
            <a:ext cx="8083295" cy="1076117"/>
          </a:xfrm>
          <a:prstGeom prst="ca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ABSTRACTION LAYER</a:t>
            </a:r>
          </a:p>
          <a:p>
            <a:pPr algn="ctr"/>
            <a:r>
              <a:rPr lang="en-US" sz="1100" dirty="0"/>
              <a:t>(RAID LEVELS, LUNs, ACLs, PRESENTATION)</a:t>
            </a:r>
          </a:p>
        </p:txBody>
      </p:sp>
      <p:sp>
        <p:nvSpPr>
          <p:cNvPr id="47" name="Can 46">
            <a:extLst>
              <a:ext uri="{FF2B5EF4-FFF2-40B4-BE49-F238E27FC236}">
                <a16:creationId xmlns:a16="http://schemas.microsoft.com/office/drawing/2014/main" id="{4B8DABCC-A758-3541-B264-E8895E695300}"/>
              </a:ext>
            </a:extLst>
          </p:cNvPr>
          <p:cNvSpPr/>
          <p:nvPr/>
        </p:nvSpPr>
        <p:spPr bwMode="gray">
          <a:xfrm>
            <a:off x="2680050" y="1626802"/>
            <a:ext cx="5202432" cy="1076117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IRTUAL LAYER</a:t>
            </a:r>
          </a:p>
          <a:p>
            <a:pPr algn="ctr"/>
            <a:r>
              <a:rPr lang="en-US" sz="1100" dirty="0"/>
              <a:t>(iSCSI/</a:t>
            </a:r>
            <a:r>
              <a:rPr lang="en-US" sz="1100" dirty="0" err="1"/>
              <a:t>FCoE</a:t>
            </a:r>
            <a:r>
              <a:rPr lang="en-US" sz="1100" dirty="0"/>
              <a:t>/FC PROTOCOLS,  DRIVE LETTER ASSIGNMENTS, etc.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CDE0D5-7C90-BE43-A989-DE91B8C79C5D}"/>
              </a:ext>
            </a:extLst>
          </p:cNvPr>
          <p:cNvSpPr/>
          <p:nvPr/>
        </p:nvSpPr>
        <p:spPr bwMode="gray">
          <a:xfrm>
            <a:off x="571858" y="1626802"/>
            <a:ext cx="1613558" cy="204908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RESILIENCE</a:t>
            </a:r>
          </a:p>
          <a:p>
            <a:pPr algn="ctr"/>
            <a:r>
              <a:rPr lang="en-US" sz="1400" dirty="0"/>
              <a:t>FAILOVER</a:t>
            </a:r>
          </a:p>
          <a:p>
            <a:pPr algn="ctr"/>
            <a:r>
              <a:rPr lang="en-US" sz="1400" dirty="0"/>
              <a:t>REDUNDANCY</a:t>
            </a:r>
          </a:p>
        </p:txBody>
      </p:sp>
    </p:spTree>
    <p:extLst>
      <p:ext uri="{BB962C8B-B14F-4D97-AF65-F5344CB8AC3E}">
        <p14:creationId xmlns:p14="http://schemas.microsoft.com/office/powerpoint/2010/main" val="1214078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Movere</a:t>
            </a:r>
            <a:r>
              <a:rPr lang="en-US" sz="2400" dirty="0"/>
              <a:t> Analysis – What’s not includ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4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9915F3-6EBD-1A45-B28F-5B22951320E1}"/>
              </a:ext>
            </a:extLst>
          </p:cNvPr>
          <p:cNvSpPr txBox="1"/>
          <p:nvPr/>
        </p:nvSpPr>
        <p:spPr>
          <a:xfrm>
            <a:off x="371475" y="1176166"/>
            <a:ext cx="8279267" cy="258532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Network utilization costs need to be factored into financials – upfront cost for ExpressRoute + utilization ingress/egress</a:t>
            </a:r>
          </a:p>
          <a:p>
            <a:pPr marL="742950" lvl="1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10 Gbps circuit (US Central) = $3,400/month</a:t>
            </a:r>
          </a:p>
          <a:p>
            <a:pPr marL="1200150" lvl="2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Inbound data = unlimited</a:t>
            </a:r>
          </a:p>
          <a:p>
            <a:pPr marL="1200150" lvl="2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Outbound data = nothing included</a:t>
            </a:r>
          </a:p>
          <a:p>
            <a:pPr marL="1657350" lvl="3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Different rate per zone [i.e. .025/GB up to .14/GB (replication becomes expensive)]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n-US" dirty="0"/>
              <a:t>Roll-up financial analysis based on Microsoft VM sizing estimate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860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2617788" y="6486525"/>
            <a:ext cx="6526212" cy="365125"/>
          </a:xfrm>
        </p:spPr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7600" y="6486525"/>
            <a:ext cx="406400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74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Virtual Servers – ARC Siz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4C6BFD1-62A5-0846-B703-658A08578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458719"/>
              </p:ext>
            </p:extLst>
          </p:nvPr>
        </p:nvGraphicFramePr>
        <p:xfrm>
          <a:off x="368755" y="1171575"/>
          <a:ext cx="8486774" cy="3451830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1953824410"/>
                    </a:ext>
                  </a:extLst>
                </a:gridCol>
                <a:gridCol w="681226">
                  <a:extLst>
                    <a:ext uri="{9D8B030D-6E8A-4147-A177-3AD203B41FA5}">
                      <a16:colId xmlns:a16="http://schemas.microsoft.com/office/drawing/2014/main" val="601456892"/>
                    </a:ext>
                  </a:extLst>
                </a:gridCol>
                <a:gridCol w="1143821">
                  <a:extLst>
                    <a:ext uri="{9D8B030D-6E8A-4147-A177-3AD203B41FA5}">
                      <a16:colId xmlns:a16="http://schemas.microsoft.com/office/drawing/2014/main" val="2177266858"/>
                    </a:ext>
                  </a:extLst>
                </a:gridCol>
                <a:gridCol w="1156466">
                  <a:extLst>
                    <a:ext uri="{9D8B030D-6E8A-4147-A177-3AD203B41FA5}">
                      <a16:colId xmlns:a16="http://schemas.microsoft.com/office/drawing/2014/main" val="2910759785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1433794579"/>
                    </a:ext>
                  </a:extLst>
                </a:gridCol>
                <a:gridCol w="1111292">
                  <a:extLst>
                    <a:ext uri="{9D8B030D-6E8A-4147-A177-3AD203B41FA5}">
                      <a16:colId xmlns:a16="http://schemas.microsoft.com/office/drawing/2014/main" val="1741414786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1411091625"/>
                    </a:ext>
                  </a:extLst>
                </a:gridCol>
                <a:gridCol w="1023955">
                  <a:extLst>
                    <a:ext uri="{9D8B030D-6E8A-4147-A177-3AD203B41FA5}">
                      <a16:colId xmlns:a16="http://schemas.microsoft.com/office/drawing/2014/main" val="1715282463"/>
                    </a:ext>
                  </a:extLst>
                </a:gridCol>
              </a:tblGrid>
              <a:tr h="7670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overe Estimated Rate per Hour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Rate per Hour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3 Year Total*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795129909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65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77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10.7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48,874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45,814.7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,559,474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049,330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296104291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293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92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01.4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86,30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6,040.1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,307,01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177,445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506035499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2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1.5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1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3,302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2,710.4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718,882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777,575.5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550366117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15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3.8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1.0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8,510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8,350.8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466,37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180,631.9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776686968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5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7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0.7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6,91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3,561.2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48,78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648,205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927529260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6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6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8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7,28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7,783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62,10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960,188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197532277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4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1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4.6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9,144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6,409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129,205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750,737.1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477410194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46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1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9.7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4,895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,241.1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16,22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96,680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387699690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3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4.8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6.7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4,625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0,648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966,532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543,328.8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851596721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6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3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6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1,68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,394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40,55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490,203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872381894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5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.4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3.5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,709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,204.3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57,534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19,356.8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842291445"/>
                  </a:ext>
                </a:extLst>
              </a:tr>
              <a:tr h="21916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0.1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461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,988.4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92,614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91,582.8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079637743"/>
                  </a:ext>
                </a:extLst>
              </a:tr>
              <a:tr h="205466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05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31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96.0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90,703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530,146.3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2,865,30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55,085,267.70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827279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0005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Physical Servers – ARC Siz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B8D4900-17D2-884A-BC80-EB26B64954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623136"/>
              </p:ext>
            </p:extLst>
          </p:nvPr>
        </p:nvGraphicFramePr>
        <p:xfrm>
          <a:off x="368755" y="1159933"/>
          <a:ext cx="8486773" cy="3463471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4237509560"/>
                    </a:ext>
                  </a:extLst>
                </a:gridCol>
                <a:gridCol w="681225">
                  <a:extLst>
                    <a:ext uri="{9D8B030D-6E8A-4147-A177-3AD203B41FA5}">
                      <a16:colId xmlns:a16="http://schemas.microsoft.com/office/drawing/2014/main" val="80416917"/>
                    </a:ext>
                  </a:extLst>
                </a:gridCol>
                <a:gridCol w="931334">
                  <a:extLst>
                    <a:ext uri="{9D8B030D-6E8A-4147-A177-3AD203B41FA5}">
                      <a16:colId xmlns:a16="http://schemas.microsoft.com/office/drawing/2014/main" val="3015633139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1400124223"/>
                    </a:ext>
                  </a:extLst>
                </a:gridCol>
                <a:gridCol w="1075266">
                  <a:extLst>
                    <a:ext uri="{9D8B030D-6E8A-4147-A177-3AD203B41FA5}">
                      <a16:colId xmlns:a16="http://schemas.microsoft.com/office/drawing/2014/main" val="52176226"/>
                    </a:ext>
                  </a:extLst>
                </a:gridCol>
                <a:gridCol w="1261535">
                  <a:extLst>
                    <a:ext uri="{9D8B030D-6E8A-4147-A177-3AD203B41FA5}">
                      <a16:colId xmlns:a16="http://schemas.microsoft.com/office/drawing/2014/main" val="2076712195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55085430"/>
                    </a:ext>
                  </a:extLst>
                </a:gridCol>
                <a:gridCol w="1252461">
                  <a:extLst>
                    <a:ext uri="{9D8B030D-6E8A-4147-A177-3AD203B41FA5}">
                      <a16:colId xmlns:a16="http://schemas.microsoft.com/office/drawing/2014/main" val="2615284542"/>
                    </a:ext>
                  </a:extLst>
                </a:gridCol>
              </a:tblGrid>
              <a:tr h="7696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overe Estimated Rate per Hour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Optum Adjusted Rate per Hour*</a:t>
                      </a:r>
                      <a:endParaRPr lang="en-US" sz="10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Optum Adjusted 3 Year Total***</a:t>
                      </a:r>
                      <a:endParaRPr lang="en-US" sz="1000" b="1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85597753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53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00.3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11.7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92,226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73,588.5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,520,146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449,187.1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214092500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6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9.8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4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,375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7,379.2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309,532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705,653.8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742197194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1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56.4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8,789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4,207.1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196,436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111,456.4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588272231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6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.2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.4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,482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,540.1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69,37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79,446.7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676512490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6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1.9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7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7,923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9,352.4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365,24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776,688.6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788267163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130446976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6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.2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96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32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,870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,784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972679815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6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3.4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9.5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9,018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0,748.5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404,66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826,949.1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177051751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.2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.1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,884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152.6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27,838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81,493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732697182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606318276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.5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255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600.8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5,201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3,632.0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940644650"/>
                  </a:ext>
                </a:extLst>
              </a:tr>
              <a:tr h="21990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6,000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156091497"/>
                  </a:ext>
                </a:extLst>
              </a:tr>
              <a:tr h="20615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37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06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16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15,453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69,202.5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,556,30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24,091,292.70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1990844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440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All Servers – ARC Size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D16D084-47AC-5A49-9BCD-E3661B7D36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707205"/>
              </p:ext>
            </p:extLst>
          </p:nvPr>
        </p:nvGraphicFramePr>
        <p:xfrm>
          <a:off x="368755" y="1164167"/>
          <a:ext cx="8486774" cy="3459235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4035007116"/>
                    </a:ext>
                  </a:extLst>
                </a:gridCol>
                <a:gridCol w="672760">
                  <a:extLst>
                    <a:ext uri="{9D8B030D-6E8A-4147-A177-3AD203B41FA5}">
                      <a16:colId xmlns:a16="http://schemas.microsoft.com/office/drawing/2014/main" val="3284073671"/>
                    </a:ext>
                  </a:extLst>
                </a:gridCol>
                <a:gridCol w="1152287">
                  <a:extLst>
                    <a:ext uri="{9D8B030D-6E8A-4147-A177-3AD203B41FA5}">
                      <a16:colId xmlns:a16="http://schemas.microsoft.com/office/drawing/2014/main" val="264928372"/>
                    </a:ext>
                  </a:extLst>
                </a:gridCol>
                <a:gridCol w="1156466">
                  <a:extLst>
                    <a:ext uri="{9D8B030D-6E8A-4147-A177-3AD203B41FA5}">
                      <a16:colId xmlns:a16="http://schemas.microsoft.com/office/drawing/2014/main" val="3132969805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3666717523"/>
                    </a:ext>
                  </a:extLst>
                </a:gridCol>
                <a:gridCol w="1111292">
                  <a:extLst>
                    <a:ext uri="{9D8B030D-6E8A-4147-A177-3AD203B41FA5}">
                      <a16:colId xmlns:a16="http://schemas.microsoft.com/office/drawing/2014/main" val="1219652762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1000633105"/>
                    </a:ext>
                  </a:extLst>
                </a:gridCol>
                <a:gridCol w="1023955">
                  <a:extLst>
                    <a:ext uri="{9D8B030D-6E8A-4147-A177-3AD203B41FA5}">
                      <a16:colId xmlns:a16="http://schemas.microsoft.com/office/drawing/2014/main" val="61555410"/>
                    </a:ext>
                  </a:extLst>
                </a:gridCol>
              </a:tblGrid>
              <a:tr h="6104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overe Estimated Rate per Hour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Rate per Hour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3 Year Total*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401523159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1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78.2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21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41,100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18,403.2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3,079,621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9,462,517.5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562624612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34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42.0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64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22,681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2,419.4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,616,548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,847,099.2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733122079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94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63.1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36.8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92,092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45,917.5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,915,319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,853,031.9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312734060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5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4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4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5,993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7,891.0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735,748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524,078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548338574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1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9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7.0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4,834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21,913.7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414,034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388,894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443468625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6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6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8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7,28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7,783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62,10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960,188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056379870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43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1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5.5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9,641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7,042.2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147,07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773,521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459180935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9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4.9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7.9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3,913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7,989.7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020,88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87,629.6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895668015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4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1.1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7.5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6,510.3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5,800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394,37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088,822.7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712410886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6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3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6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1,68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,394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40,55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490,203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867730209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7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9.1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5.7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964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,805.2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02,736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76,988.9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813397707"/>
                  </a:ext>
                </a:extLst>
              </a:tr>
              <a:tr h="23255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0.1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461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,988.4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92,614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91,582.8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670056147"/>
                  </a:ext>
                </a:extLst>
              </a:tr>
              <a:tr h="21801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595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337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996.3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706,15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187,348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1,421,616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78,744,560.40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563462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236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2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djusted Financial Estimate by CDO</a:t>
            </a:r>
            <a:br>
              <a:rPr lang="en-US" sz="2400" dirty="0"/>
            </a:br>
            <a:r>
              <a:rPr lang="en-US" sz="2400" dirty="0"/>
              <a:t>Virtual Servers – AL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89760" y="6486983"/>
            <a:ext cx="6525578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8675" y="6486983"/>
            <a:ext cx="406854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9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FA0F1-9635-C540-9585-86B87285446C}"/>
              </a:ext>
            </a:extLst>
          </p:cNvPr>
          <p:cNvSpPr/>
          <p:nvPr/>
        </p:nvSpPr>
        <p:spPr>
          <a:xfrm>
            <a:off x="371475" y="4827749"/>
            <a:ext cx="848405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Charter Roman" panose="02040503050506020203" pitchFamily="18" charset="0"/>
              </a:rPr>
              <a:t>*Rate per Hour </a:t>
            </a:r>
            <a:r>
              <a:rPr lang="en-US" sz="1100" dirty="0">
                <a:latin typeface="Charter Roman" panose="02040503050506020203" pitchFamily="18" charset="0"/>
              </a:rPr>
              <a:t>= ((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estimate * 85% Optum rate) + 50% margin on actual CSP usage) + ($1,000 HCC Monthly fee / 730 hours / month) * 150% margin (EXCEL FORMULA: =SUM((([</a:t>
            </a:r>
            <a:r>
              <a:rPr lang="en-US" sz="1100" dirty="0" err="1">
                <a:latin typeface="Charter Roman" panose="02040503050506020203" pitchFamily="18" charset="0"/>
              </a:rPr>
              <a:t>Movere</a:t>
            </a:r>
            <a:r>
              <a:rPr lang="en-US" sz="1100" dirty="0">
                <a:latin typeface="Charter Roman" panose="02040503050506020203" pitchFamily="18" charset="0"/>
              </a:rPr>
              <a:t> Rate per Hour]*0.85) * 1.5) + ($1,000/730))</a:t>
            </a:r>
          </a:p>
          <a:p>
            <a:pPr algn="ctr"/>
            <a:r>
              <a:rPr lang="en-US" sz="1100" b="1" i="1" dirty="0">
                <a:latin typeface="Charter Roman" panose="02040503050506020203" pitchFamily="18" charset="0"/>
              </a:rPr>
              <a:t>(Actual CSP usage based on </a:t>
            </a:r>
            <a:r>
              <a:rPr lang="en-US" sz="1100" b="1" i="1" dirty="0" err="1">
                <a:latin typeface="Charter Roman" panose="02040503050506020203" pitchFamily="18" charset="0"/>
              </a:rPr>
              <a:t>Movere</a:t>
            </a:r>
            <a:r>
              <a:rPr lang="en-US" sz="1100" b="1" i="1" dirty="0">
                <a:latin typeface="Charter Roman" panose="02040503050506020203" pitchFamily="18" charset="0"/>
              </a:rPr>
              <a:t> estimate but monthly usage will most likely be variable) </a:t>
            </a:r>
          </a:p>
          <a:p>
            <a:pPr algn="ctr"/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Cost per Month </a:t>
            </a:r>
            <a:r>
              <a:rPr lang="en-US" sz="1100" dirty="0">
                <a:latin typeface="Charter Roman" panose="02040503050506020203" pitchFamily="18" charset="0"/>
              </a:rPr>
              <a:t>= Rate per Hour * 730 Hours/month (average hours per month)</a:t>
            </a:r>
          </a:p>
          <a:p>
            <a:endParaRPr lang="en-US" sz="1100" dirty="0">
              <a:latin typeface="Charter Roman" panose="02040503050506020203" pitchFamily="18" charset="0"/>
            </a:endParaRPr>
          </a:p>
          <a:p>
            <a:r>
              <a:rPr lang="en-US" sz="1100" b="1" dirty="0">
                <a:latin typeface="Charter Roman" panose="02040503050506020203" pitchFamily="18" charset="0"/>
              </a:rPr>
              <a:t>***3 Year Total </a:t>
            </a:r>
            <a:r>
              <a:rPr lang="en-US" sz="1100" dirty="0">
                <a:latin typeface="Charter Roman" panose="02040503050506020203" pitchFamily="18" charset="0"/>
              </a:rPr>
              <a:t>= Cost per Month * 3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FFDA95-6032-D04B-A830-A1F52D034BA7}"/>
              </a:ext>
            </a:extLst>
          </p:cNvPr>
          <p:cNvSpPr txBox="1"/>
          <p:nvPr/>
        </p:nvSpPr>
        <p:spPr bwMode="gray">
          <a:xfrm>
            <a:off x="371476" y="6309371"/>
            <a:ext cx="84840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000" dirty="0"/>
              <a:t>Amounts calculated in </a:t>
            </a:r>
            <a:r>
              <a:rPr lang="en-US" sz="1000" dirty="0" err="1"/>
              <a:t>Movere</a:t>
            </a:r>
            <a:r>
              <a:rPr lang="en-US" sz="1000" dirty="0"/>
              <a:t> based on Azure ready VMs and ARC (Actual Resource Consumption) data collected and default Azure pricing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DAF5DE4-B724-9B4F-88A0-06899BD2A8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901821"/>
              </p:ext>
            </p:extLst>
          </p:nvPr>
        </p:nvGraphicFramePr>
        <p:xfrm>
          <a:off x="368755" y="1163108"/>
          <a:ext cx="8486774" cy="3460297"/>
        </p:xfrm>
        <a:graphic>
          <a:graphicData uri="http://schemas.openxmlformats.org/drawingml/2006/table">
            <a:tbl>
              <a:tblPr firstRow="1" firstCol="1" lastRow="1" bandRow="1">
                <a:tableStyleId>{3B4B98B0-60AC-42C2-AFA5-B58CD77FA1E5}</a:tableStyleId>
              </a:tblPr>
              <a:tblGrid>
                <a:gridCol w="1075152">
                  <a:extLst>
                    <a:ext uri="{9D8B030D-6E8A-4147-A177-3AD203B41FA5}">
                      <a16:colId xmlns:a16="http://schemas.microsoft.com/office/drawing/2014/main" val="4139510817"/>
                    </a:ext>
                  </a:extLst>
                </a:gridCol>
                <a:gridCol w="605026">
                  <a:extLst>
                    <a:ext uri="{9D8B030D-6E8A-4147-A177-3AD203B41FA5}">
                      <a16:colId xmlns:a16="http://schemas.microsoft.com/office/drawing/2014/main" val="1086524034"/>
                    </a:ext>
                  </a:extLst>
                </a:gridCol>
                <a:gridCol w="1220021">
                  <a:extLst>
                    <a:ext uri="{9D8B030D-6E8A-4147-A177-3AD203B41FA5}">
                      <a16:colId xmlns:a16="http://schemas.microsoft.com/office/drawing/2014/main" val="251817616"/>
                    </a:ext>
                  </a:extLst>
                </a:gridCol>
                <a:gridCol w="1156466">
                  <a:extLst>
                    <a:ext uri="{9D8B030D-6E8A-4147-A177-3AD203B41FA5}">
                      <a16:colId xmlns:a16="http://schemas.microsoft.com/office/drawing/2014/main" val="2866181485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829772147"/>
                    </a:ext>
                  </a:extLst>
                </a:gridCol>
                <a:gridCol w="1111292">
                  <a:extLst>
                    <a:ext uri="{9D8B030D-6E8A-4147-A177-3AD203B41FA5}">
                      <a16:colId xmlns:a16="http://schemas.microsoft.com/office/drawing/2014/main" val="1806311269"/>
                    </a:ext>
                  </a:extLst>
                </a:gridCol>
                <a:gridCol w="1147431">
                  <a:extLst>
                    <a:ext uri="{9D8B030D-6E8A-4147-A177-3AD203B41FA5}">
                      <a16:colId xmlns:a16="http://schemas.microsoft.com/office/drawing/2014/main" val="560744673"/>
                    </a:ext>
                  </a:extLst>
                </a:gridCol>
                <a:gridCol w="1023955">
                  <a:extLst>
                    <a:ext uri="{9D8B030D-6E8A-4147-A177-3AD203B41FA5}">
                      <a16:colId xmlns:a16="http://schemas.microsoft.com/office/drawing/2014/main" val="3724364003"/>
                    </a:ext>
                  </a:extLst>
                </a:gridCol>
              </a:tblGrid>
              <a:tr h="7689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DO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erver Count</a:t>
                      </a:r>
                      <a:endParaRPr lang="en-US" sz="1000" b="1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overe Estimated Rate per Hour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Rate per Hour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ost per Month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Cost per Month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3 Year Total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ptum Adjusted 3 Year Total***</a:t>
                      </a:r>
                      <a:endParaRPr lang="en-US" sz="1000" b="1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924725838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DMG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756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21.2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65.9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80,527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86,172.0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698,975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,502,193.8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253302301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UNTAIN WES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324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1.0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25.5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00,095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83,622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,803,445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,810,392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529037949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ellMe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5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91.0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45.0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9,495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78,857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,021,845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,438,852.6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108832647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RELIAN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5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0.5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2.3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0,716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3,913.0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905,779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740,868.9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659648716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SCA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82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9.9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16.0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5,656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4,711.6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363,623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049,619.5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440643805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MONARCH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6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6.9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88.7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7,28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37,783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,862,10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,960,188.7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662360590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OLYCLINIC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48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4.97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09.7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2,028.1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0,085.8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233,011.6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883,089.7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646379841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NY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55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5.1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84.4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7,559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61,638.3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712,142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218,981.0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2531057088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PHCT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39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6.4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98.8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5,815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2,165.1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009,368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597,945.2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661403416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NAMM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7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3.7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7.1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1,922.9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1,701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149,224.4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501,261.1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3274741493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APPLECARE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90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9.86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6.69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4,497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9,484.7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21,920.8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01,449.0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940043452"/>
                  </a:ext>
                </a:extLst>
              </a:tr>
              <a:tr h="21970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USMD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1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2.5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30.12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6,461.5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1,988.41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592,614.0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791,582.85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885672519"/>
                  </a:ext>
                </a:extLst>
              </a:tr>
              <a:tr h="2059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Total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415</a:t>
                      </a:r>
                      <a:endParaRPr lang="en-US" sz="9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783.64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2,290.58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302,057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1,672,122.93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>
                          <a:effectLst/>
                        </a:rPr>
                        <a:t>$46,874,059.20</a:t>
                      </a:r>
                      <a:endParaRPr lang="en-US" sz="9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u="none" strike="noStrike" dirty="0">
                          <a:effectLst/>
                        </a:rPr>
                        <a:t>$60,196,425.48</a:t>
                      </a:r>
                      <a:endParaRPr lang="en-US" sz="9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4" marR="9054" marT="9054" marB="0" anchor="ctr"/>
                </a:tc>
                <a:extLst>
                  <a:ext uri="{0D108BD9-81ED-4DB2-BD59-A6C34878D82A}">
                    <a16:rowId xmlns:a16="http://schemas.microsoft.com/office/drawing/2014/main" val="1306560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55268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d3be0030-1868-4b07-b079-d4751f56ecce"/>
  <p:tag name="MIO_UPDATE" val="True"/>
  <p:tag name="MIO_VERSION" val="13.11.2017 12:04:32"/>
  <p:tag name="MIO_DBID" val="105C9A49-0F00-47E0-A9B9-86E2A99454C8"/>
  <p:tag name="MIO_LASTDOWNLOADED" val="13.11.2017 12:04:31"/>
  <p:tag name="MIO_OBJECTNAME" val="Standard Optum#optummedium"/>
  <p:tag name="MIO_LASTEDITORNAME" val="Charlotte Bartholomew"/>
  <p:tag name="MIO_LOGOPLACEHOLDER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m1JPg1RoK0PJKrYXWI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YhSK.HTtOX3IZFY_RH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EKGUID" val="3e3da670-7580-4245-9b41-7b1706838a96"/>
  <p:tag name="MIO_UPDATE" val="True"/>
  <p:tag name="MIO_VERSION" val="13.11.2017 12:03:46"/>
  <p:tag name="MIO_DBID" val="105C9A49-0F00-47E0-A9B9-86E2A99454C8"/>
  <p:tag name="MIO_LASTDOWNLOADED" val="13.11.2017 12:03:45"/>
  <p:tag name="MIO_OBJECTNAME" val="Standard Optum#optumsmall"/>
  <p:tag name="MIO_LASTEDITORNAME" val="Charlotte Bartholomew"/>
  <p:tag name="MIO_LOGOPLACEHOLDER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p8z4_voV.ZW6a.PTjh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0c4cd933-b438-42f0-9d56-77a862068c26"/>
  <p:tag name="MIO_UPDATE" val="True"/>
  <p:tag name="MIO_VERSION" val="10.06.2019 16:06:45"/>
  <p:tag name="MIO_DBID" val="105C9A49-0F00-47E0-A9B9-86E2A99454C8"/>
  <p:tag name="MIO_LASTDOWNLOADED" val="11.06.2019 14:20:23"/>
  <p:tag name="MIO_OBJECTNAME" val="Optum Standard"/>
  <p:tag name="MIO_LASTEDITORNAME" val="Charlotte Bartholomew"/>
  <p:tag name="MIO_CDID" val="2b3ffa84-15ea-4716-9951-e2fc4579fd6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f17c2a-7869-4c18-8cbb-645b48883121"/>
  <p:tag name="MIO_LOGOPLACEHOLDER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heme/theme1.xml><?xml version="1.0" encoding="utf-8"?>
<a:theme xmlns:a="http://schemas.openxmlformats.org/drawingml/2006/main" name="15_Main">
  <a:themeElements>
    <a:clrScheme name="Custom 4">
      <a:dk1>
        <a:sysClr val="windowText" lastClr="000000"/>
      </a:dk1>
      <a:lt1>
        <a:sysClr val="window" lastClr="FFFFFF"/>
      </a:lt1>
      <a:dk2>
        <a:srgbClr val="1D3641"/>
      </a:dk2>
      <a:lt2>
        <a:srgbClr val="DFE6D0"/>
      </a:lt2>
      <a:accent1>
        <a:srgbClr val="E18E00"/>
      </a:accent1>
      <a:accent2>
        <a:srgbClr val="CFC60D"/>
      </a:accent2>
      <a:accent3>
        <a:srgbClr val="99987F"/>
      </a:accent3>
      <a:accent4>
        <a:srgbClr val="90AC97"/>
      </a:accent4>
      <a:accent5>
        <a:srgbClr val="E18E00"/>
      </a:accent5>
      <a:accent6>
        <a:srgbClr val="B9AB6F"/>
      </a:accent6>
      <a:hlink>
        <a:srgbClr val="66AACD"/>
      </a:hlink>
      <a:folHlink>
        <a:srgbClr val="809DB3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_Optum-OAS-glg-4x3-010119">
  <a:themeElements>
    <a:clrScheme name="Custom 1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F2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E87722"/>
      </a:hlink>
      <a:folHlink>
        <a:srgbClr val="6366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sz="1400" dirty="0" err="1" smtClean="0"/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as-glg.potx" id="{D77C2ED5-1A97-4CA8-B3C2-884A262E259E}" vid="{57D09149-F067-4FC4-B4C6-1F914C5A5103}"/>
    </a:ext>
  </a:extLst>
</a:theme>
</file>

<file path=ppt/theme/theme11.xml><?xml version="1.0" encoding="utf-8"?>
<a:theme xmlns:a="http://schemas.openxmlformats.org/drawingml/2006/main" name="2_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Standard - 2017 - 07.17.17.potx" id="{C39B315F-E85D-43A3-9328-CD1941EC451E}" vid="{41A285A3-CDD9-43C3-A1DE-8F1659166C2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Main">
  <a:themeElements>
    <a:clrScheme name="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ection B/Thank You">
  <a:themeElements>
    <a:clrScheme name="Section B/Thank You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Section B/Thank You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lnDef>
  </a:objectDefaults>
  <a:extraClrSchemeLst>
    <a:extraClrScheme>
      <a:clrScheme name="Section B/Thank You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ection A">
  <a:themeElements>
    <a:clrScheme name="Section A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Section A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Section A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ain">
  <a:themeElements>
    <a:clrScheme name="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Main">
  <a:themeElements>
    <a:clrScheme name="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Main">
  <a:themeElements>
    <a:clrScheme name="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5_Main">
  <a:themeElements>
    <a:clrScheme name="25_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25_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8275" marR="0" indent="-168275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35000"/>
          </a:spcAft>
          <a:buClr>
            <a:schemeClr val="accent1"/>
          </a:buClr>
          <a:buSzTx/>
          <a:buFontTx/>
          <a:buChar char="•"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25_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Main">
  <a:themeElements>
    <a:clrScheme name="Main 1">
      <a:dk1>
        <a:srgbClr val="63666A"/>
      </a:dk1>
      <a:lt1>
        <a:srgbClr val="FFFFFF"/>
      </a:lt1>
      <a:dk2>
        <a:srgbClr val="63666A"/>
      </a:dk2>
      <a:lt2>
        <a:srgbClr val="0D776E"/>
      </a:lt2>
      <a:accent1>
        <a:srgbClr val="D45D00"/>
      </a:accent1>
      <a:accent2>
        <a:srgbClr val="D19000"/>
      </a:accent2>
      <a:accent3>
        <a:srgbClr val="FFFFFF"/>
      </a:accent3>
      <a:accent4>
        <a:srgbClr val="535659"/>
      </a:accent4>
      <a:accent5>
        <a:srgbClr val="E6B6AA"/>
      </a:accent5>
      <a:accent6>
        <a:srgbClr val="BD8200"/>
      </a:accent6>
      <a:hlink>
        <a:srgbClr val="96172E"/>
      </a:hlink>
      <a:folHlink>
        <a:srgbClr val="8E9300"/>
      </a:folHlink>
    </a:clrScheme>
    <a:fontScheme name="Main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tint val="80000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charset="0"/>
            <a:cs typeface="Arial Unicode MS" charset="0"/>
          </a:defRPr>
        </a:defPPr>
      </a:lstStyle>
    </a:lnDef>
  </a:objectDefaults>
  <a:extraClrSchemeLst>
    <a:extraClrScheme>
      <a:clrScheme name="Main 1">
        <a:dk1>
          <a:srgbClr val="63666A"/>
        </a:dk1>
        <a:lt1>
          <a:srgbClr val="FFFFFF"/>
        </a:lt1>
        <a:dk2>
          <a:srgbClr val="63666A"/>
        </a:dk2>
        <a:lt2>
          <a:srgbClr val="0D776E"/>
        </a:lt2>
        <a:accent1>
          <a:srgbClr val="D45D00"/>
        </a:accent1>
        <a:accent2>
          <a:srgbClr val="D19000"/>
        </a:accent2>
        <a:accent3>
          <a:srgbClr val="FFFFFF"/>
        </a:accent3>
        <a:accent4>
          <a:srgbClr val="535659"/>
        </a:accent4>
        <a:accent5>
          <a:srgbClr val="E6B6AA"/>
        </a:accent5>
        <a:accent6>
          <a:srgbClr val="BD8200"/>
        </a:accent6>
        <a:hlink>
          <a:srgbClr val="96172E"/>
        </a:hlink>
        <a:folHlink>
          <a:srgbClr val="8E9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AEAEAF7CA9654F8B85348BFB8717C8" ma:contentTypeVersion="0" ma:contentTypeDescription="Create a new document." ma:contentTypeScope="" ma:versionID="5511f14418eb5cafcc107dfe32eca55c">
  <xsd:schema xmlns:xsd="http://www.w3.org/2001/XMLSchema" xmlns:xs="http://www.w3.org/2001/XMLSchema" xmlns:p="http://schemas.microsoft.com/office/2006/metadata/properties" xmlns:ns2="bb08365c-b84b-4c73-aa53-78f6d4ee8ecd" targetNamespace="http://schemas.microsoft.com/office/2006/metadata/properties" ma:root="true" ma:fieldsID="4904257db2c6370c242a64569af92fdf" ns2:_="">
    <xsd:import namespace="bb08365c-b84b-4c73-aa53-78f6d4ee8ecd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08365c-b84b-4c73-aa53-78f6d4ee8ec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b08365c-b84b-4c73-aa53-78f6d4ee8ecd">PQFRDK5RUUC7-1852409442-1544</_dlc_DocId>
    <_dlc_DocIdUrl xmlns="bb08365c-b84b-4c73-aa53-78f6d4ee8ecd">
      <Url>http://consulting-sp.optum.com/client/UHG/OptBus/OptumHealth/_layouts/15/DocIdRedir.aspx?ID=PQFRDK5RUUC7-1852409442-1544</Url>
      <Description>PQFRDK5RUUC7-1852409442-1544</Description>
    </_dlc_DocIdUrl>
  </documentManagement>
</p:properties>
</file>

<file path=customXml/itemProps1.xml><?xml version="1.0" encoding="utf-8"?>
<ds:datastoreItem xmlns:ds="http://schemas.openxmlformats.org/officeDocument/2006/customXml" ds:itemID="{E9AB57C7-884B-4BE4-B8D2-D63091524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08365c-b84b-4c73-aa53-78f6d4ee8e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1A5E450-7C25-47A9-98EC-34CC040157B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09AF1D96-106F-4556-8431-8B5157AEAF1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03DED98-4F5B-4FA5-8FA9-3766EE6C12AB}">
  <ds:schemaRefs>
    <ds:schemaRef ds:uri="bb08365c-b84b-4c73-aa53-78f6d4ee8ecd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19</Words>
  <Application>Microsoft Macintosh PowerPoint</Application>
  <PresentationFormat>On-screen Show (4:3)</PresentationFormat>
  <Paragraphs>1380</Paragraphs>
  <Slides>30</Slides>
  <Notes>17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1" baseType="lpstr">
      <vt:lpstr>Arial Unicode MS</vt:lpstr>
      <vt:lpstr>MS PGothic</vt:lpstr>
      <vt:lpstr>MS PGothic</vt:lpstr>
      <vt:lpstr>Arial</vt:lpstr>
      <vt:lpstr>Calibri</vt:lpstr>
      <vt:lpstr>Charter Roman</vt:lpstr>
      <vt:lpstr>Geneva</vt:lpstr>
      <vt:lpstr>Segoe UI</vt:lpstr>
      <vt:lpstr>Wingdings</vt:lpstr>
      <vt:lpstr>15_Main</vt:lpstr>
      <vt:lpstr>10_Main</vt:lpstr>
      <vt:lpstr>2_Section B/Thank You</vt:lpstr>
      <vt:lpstr>Section A</vt:lpstr>
      <vt:lpstr>Main</vt:lpstr>
      <vt:lpstr>5_Main</vt:lpstr>
      <vt:lpstr>6_Main</vt:lpstr>
      <vt:lpstr>25_Main</vt:lpstr>
      <vt:lpstr>7_Main</vt:lpstr>
      <vt:lpstr>5_Optum-OAS-glg-4x3-010119</vt:lpstr>
      <vt:lpstr>2_Default Theme</vt:lpstr>
      <vt:lpstr>think-cell Slide</vt:lpstr>
      <vt:lpstr> OptumCare CDO Infrastructure Cloud-Readiness Inventory Analysis</vt:lpstr>
      <vt:lpstr>Technical Overview</vt:lpstr>
      <vt:lpstr>Movere Analysis</vt:lpstr>
      <vt:lpstr>Movere Analysis – What’s not included</vt:lpstr>
      <vt:lpstr>Financials</vt:lpstr>
      <vt:lpstr>Adjusted Financial Estimate by CDO Virtual Servers – ARC Sized</vt:lpstr>
      <vt:lpstr>Adjusted Financial Estimate by CDO Physical Servers – ARC Sized</vt:lpstr>
      <vt:lpstr>Adjusted Financial Estimate by CDO All Servers – ARC Sized</vt:lpstr>
      <vt:lpstr>Adjusted Financial Estimate by CDO Virtual Servers – ALL</vt:lpstr>
      <vt:lpstr>Adjusted Financial Estimate by CDO Physical Servers – ALL</vt:lpstr>
      <vt:lpstr>Adjusted Financial Estimate by CDO All Servers</vt:lpstr>
      <vt:lpstr>Movere Financial Estimate by CDO Contract Comparison – No Adjustment ARC Sized Servers</vt:lpstr>
      <vt:lpstr>Movere Financial Estimate by CDO Contract Comparison – No Adjustment ALL Servers</vt:lpstr>
      <vt:lpstr>Charts and graphs</vt:lpstr>
      <vt:lpstr>Infrastructure Totals by CDO</vt:lpstr>
      <vt:lpstr>Total Server Inventory by CDO*</vt:lpstr>
      <vt:lpstr>Virtual CPU Provisioned and Average Utilization by CDO</vt:lpstr>
      <vt:lpstr>Physical CPU Provisioned and Average Utilization by CDO</vt:lpstr>
      <vt:lpstr>Virtual RAM Provisioned and Average Utilization by CDO</vt:lpstr>
      <vt:lpstr>Physical RAM Provisioned and Average Utilization by CDO</vt:lpstr>
      <vt:lpstr>Virtual Storage Provisioned and Usage by CDO</vt:lpstr>
      <vt:lpstr>Physical Storage Provisioned and Usage by CDO</vt:lpstr>
      <vt:lpstr>Top Processor Models</vt:lpstr>
      <vt:lpstr>Virtual Operating System Count</vt:lpstr>
      <vt:lpstr>Physical Operating System Count</vt:lpstr>
      <vt:lpstr>Key Takeaways</vt:lpstr>
      <vt:lpstr>Appendix</vt:lpstr>
      <vt:lpstr>Supporting Files</vt:lpstr>
      <vt:lpstr>Margin of Error Example</vt:lpstr>
      <vt:lpstr>Storage Data Collection Layer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1-06T16:18:04Z</dcterms:created>
  <dcterms:modified xsi:type="dcterms:W3CDTF">2020-03-16T05:5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fac531dc-3f3b-4985-b4db-faca31109a72</vt:lpwstr>
  </property>
  <property fmtid="{D5CDD505-2E9C-101B-9397-08002B2CF9AE}" pid="3" name="ContentTypeId">
    <vt:lpwstr>0x010100E3AEAEAF7CA9654F8B85348BFB8717C8</vt:lpwstr>
  </property>
</Properties>
</file>